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686" r:id="rId2"/>
    <p:sldMasterId id="2147483698" r:id="rId3"/>
    <p:sldMasterId id="2147483708" r:id="rId4"/>
    <p:sldMasterId id="2147483719" r:id="rId5"/>
  </p:sldMasterIdLst>
  <p:notesMasterIdLst>
    <p:notesMasterId r:id="rId36"/>
  </p:notesMasterIdLst>
  <p:sldIdLst>
    <p:sldId id="2103813152" r:id="rId6"/>
    <p:sldId id="2103813217" r:id="rId7"/>
    <p:sldId id="2103813218" r:id="rId8"/>
    <p:sldId id="2103813175" r:id="rId9"/>
    <p:sldId id="2103813184" r:id="rId10"/>
    <p:sldId id="2103813219" r:id="rId11"/>
    <p:sldId id="2103813214" r:id="rId12"/>
    <p:sldId id="2103813215" r:id="rId13"/>
    <p:sldId id="2103813191" r:id="rId14"/>
    <p:sldId id="2103813185" r:id="rId15"/>
    <p:sldId id="2103813188" r:id="rId16"/>
    <p:sldId id="2103813193" r:id="rId17"/>
    <p:sldId id="323" r:id="rId18"/>
    <p:sldId id="345" r:id="rId19"/>
    <p:sldId id="339" r:id="rId20"/>
    <p:sldId id="2103813187" r:id="rId21"/>
    <p:sldId id="2103813197" r:id="rId22"/>
    <p:sldId id="291" r:id="rId23"/>
    <p:sldId id="278" r:id="rId24"/>
    <p:sldId id="296" r:id="rId25"/>
    <p:sldId id="2103813200" r:id="rId26"/>
    <p:sldId id="267" r:id="rId27"/>
    <p:sldId id="1412" r:id="rId28"/>
    <p:sldId id="2103813195" r:id="rId29"/>
    <p:sldId id="2103813209" r:id="rId30"/>
    <p:sldId id="288" r:id="rId31"/>
    <p:sldId id="297" r:id="rId32"/>
    <p:sldId id="290" r:id="rId33"/>
    <p:sldId id="2103813196" r:id="rId34"/>
    <p:sldId id="210381320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36AF00-0C6B-4CA9-8CBA-C75F69487383}" v="434" dt="2021-11-01T21:05:31.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63"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khar Kumar" userId="039e56cb-7030-4a3e-865a-a9416a791e28" providerId="ADAL" clId="{8E36AF00-0C6B-4CA9-8CBA-C75F69487383}"/>
    <pc:docChg chg="undo custSel addSld delSld modSld sldOrd">
      <pc:chgData name="Shekhar Kumar" userId="039e56cb-7030-4a3e-865a-a9416a791e28" providerId="ADAL" clId="{8E36AF00-0C6B-4CA9-8CBA-C75F69487383}" dt="2021-11-01T21:05:31.887" v="2711"/>
      <pc:docMkLst>
        <pc:docMk/>
      </pc:docMkLst>
      <pc:sldChg chg="del">
        <pc:chgData name="Shekhar Kumar" userId="039e56cb-7030-4a3e-865a-a9416a791e28" providerId="ADAL" clId="{8E36AF00-0C6B-4CA9-8CBA-C75F69487383}" dt="2021-10-28T19:43:41.738" v="115" actId="47"/>
        <pc:sldMkLst>
          <pc:docMk/>
          <pc:sldMk cId="2751880260" sldId="2103813092"/>
        </pc:sldMkLst>
      </pc:sldChg>
      <pc:sldChg chg="addSp delSp modSp mod setBg">
        <pc:chgData name="Shekhar Kumar" userId="039e56cb-7030-4a3e-865a-a9416a791e28" providerId="ADAL" clId="{8E36AF00-0C6B-4CA9-8CBA-C75F69487383}" dt="2021-10-28T20:35:08.672" v="2641" actId="478"/>
        <pc:sldMkLst>
          <pc:docMk/>
          <pc:sldMk cId="1586891317" sldId="2103813152"/>
        </pc:sldMkLst>
        <pc:spChg chg="mod">
          <ac:chgData name="Shekhar Kumar" userId="039e56cb-7030-4a3e-865a-a9416a791e28" providerId="ADAL" clId="{8E36AF00-0C6B-4CA9-8CBA-C75F69487383}" dt="2021-10-28T20:35:02.797" v="2640" actId="20577"/>
          <ac:spMkLst>
            <pc:docMk/>
            <pc:sldMk cId="1586891317" sldId="2103813152"/>
            <ac:spMk id="3" creationId="{80C815EA-13A9-114A-8DD9-7CB30FB41C3D}"/>
          </ac:spMkLst>
        </pc:spChg>
        <pc:spChg chg="del">
          <ac:chgData name="Shekhar Kumar" userId="039e56cb-7030-4a3e-865a-a9416a791e28" providerId="ADAL" clId="{8E36AF00-0C6B-4CA9-8CBA-C75F69487383}" dt="2021-10-28T20:34:32.243" v="2588" actId="478"/>
          <ac:spMkLst>
            <pc:docMk/>
            <pc:sldMk cId="1586891317" sldId="2103813152"/>
            <ac:spMk id="4" creationId="{ABCF8D8A-45B2-B74A-9296-C81CE77331BC}"/>
          </ac:spMkLst>
        </pc:spChg>
        <pc:spChg chg="add del mod">
          <ac:chgData name="Shekhar Kumar" userId="039e56cb-7030-4a3e-865a-a9416a791e28" providerId="ADAL" clId="{8E36AF00-0C6B-4CA9-8CBA-C75F69487383}" dt="2021-10-28T20:35:08.672" v="2641" actId="478"/>
          <ac:spMkLst>
            <pc:docMk/>
            <pc:sldMk cId="1586891317" sldId="2103813152"/>
            <ac:spMk id="7" creationId="{13D7669D-F2D0-4BDE-A79D-C1D5A3F5BAAD}"/>
          </ac:spMkLst>
        </pc:spChg>
        <pc:spChg chg="add">
          <ac:chgData name="Shekhar Kumar" userId="039e56cb-7030-4a3e-865a-a9416a791e28" providerId="ADAL" clId="{8E36AF00-0C6B-4CA9-8CBA-C75F69487383}" dt="2021-10-28T20:34:40.632" v="2589" actId="26606"/>
          <ac:spMkLst>
            <pc:docMk/>
            <pc:sldMk cId="1586891317" sldId="2103813152"/>
            <ac:spMk id="12" creationId="{87CC2527-562A-4F69-B487-4371E5B243E7}"/>
          </ac:spMkLst>
        </pc:spChg>
        <pc:picChg chg="mod">
          <ac:chgData name="Shekhar Kumar" userId="039e56cb-7030-4a3e-865a-a9416a791e28" providerId="ADAL" clId="{8E36AF00-0C6B-4CA9-8CBA-C75F69487383}" dt="2021-10-28T20:34:40.632" v="2589" actId="26606"/>
          <ac:picMkLst>
            <pc:docMk/>
            <pc:sldMk cId="1586891317" sldId="2103813152"/>
            <ac:picMk id="5" creationId="{27F4051C-BB14-2340-B120-93DC0EF2579A}"/>
          </ac:picMkLst>
        </pc:picChg>
        <pc:picChg chg="add del">
          <ac:chgData name="Shekhar Kumar" userId="039e56cb-7030-4a3e-865a-a9416a791e28" providerId="ADAL" clId="{8E36AF00-0C6B-4CA9-8CBA-C75F69487383}" dt="2021-10-28T19:57:42.201" v="1037"/>
          <ac:picMkLst>
            <pc:docMk/>
            <pc:sldMk cId="1586891317" sldId="2103813152"/>
            <ac:picMk id="9218" creationId="{9AC7415F-555D-4193-BED4-743960DC4DE4}"/>
          </ac:picMkLst>
        </pc:picChg>
        <pc:cxnChg chg="add">
          <ac:chgData name="Shekhar Kumar" userId="039e56cb-7030-4a3e-865a-a9416a791e28" providerId="ADAL" clId="{8E36AF00-0C6B-4CA9-8CBA-C75F69487383}" dt="2021-10-28T20:34:40.632" v="2589" actId="26606"/>
          <ac:cxnSpMkLst>
            <pc:docMk/>
            <pc:sldMk cId="1586891317" sldId="2103813152"/>
            <ac:cxnSpMk id="14" creationId="{BCDAEC91-5BCE-4B55-9CC0-43EF94CB734B}"/>
          </ac:cxnSpMkLst>
        </pc:cxnChg>
      </pc:sldChg>
      <pc:sldChg chg="modSp add del">
        <pc:chgData name="Shekhar Kumar" userId="039e56cb-7030-4a3e-865a-a9416a791e28" providerId="ADAL" clId="{8E36AF00-0C6B-4CA9-8CBA-C75F69487383}" dt="2021-10-28T20:57:42.415" v="2642" actId="12100"/>
        <pc:sldMkLst>
          <pc:docMk/>
          <pc:sldMk cId="3006825503" sldId="2103813162"/>
        </pc:sldMkLst>
        <pc:graphicFrameChg chg="mod">
          <ac:chgData name="Shekhar Kumar" userId="039e56cb-7030-4a3e-865a-a9416a791e28" providerId="ADAL" clId="{8E36AF00-0C6B-4CA9-8CBA-C75F69487383}" dt="2021-10-28T20:57:42.415" v="2642" actId="12100"/>
          <ac:graphicFrameMkLst>
            <pc:docMk/>
            <pc:sldMk cId="3006825503" sldId="2103813162"/>
            <ac:graphicFrameMk id="88" creationId="{F8C9143D-C92F-425E-9A73-51D89617E77D}"/>
          </ac:graphicFrameMkLst>
        </pc:graphicFrameChg>
      </pc:sldChg>
      <pc:sldChg chg="del">
        <pc:chgData name="Shekhar Kumar" userId="039e56cb-7030-4a3e-865a-a9416a791e28" providerId="ADAL" clId="{8E36AF00-0C6B-4CA9-8CBA-C75F69487383}" dt="2021-10-28T19:43:41.738" v="115" actId="47"/>
        <pc:sldMkLst>
          <pc:docMk/>
          <pc:sldMk cId="3857296623" sldId="2103813165"/>
        </pc:sldMkLst>
      </pc:sldChg>
      <pc:sldChg chg="delSp modSp add del mod modTransition">
        <pc:chgData name="Shekhar Kumar" userId="039e56cb-7030-4a3e-865a-a9416a791e28" providerId="ADAL" clId="{8E36AF00-0C6B-4CA9-8CBA-C75F69487383}" dt="2021-11-01T21:04:55.706" v="2708" actId="478"/>
        <pc:sldMkLst>
          <pc:docMk/>
          <pc:sldMk cId="3136362510" sldId="2103813178"/>
        </pc:sldMkLst>
        <pc:spChg chg="mod">
          <ac:chgData name="Shekhar Kumar" userId="039e56cb-7030-4a3e-865a-a9416a791e28" providerId="ADAL" clId="{8E36AF00-0C6B-4CA9-8CBA-C75F69487383}" dt="2021-10-29T19:45:55.793" v="2706" actId="20577"/>
          <ac:spMkLst>
            <pc:docMk/>
            <pc:sldMk cId="3136362510" sldId="2103813178"/>
            <ac:spMk id="3" creationId="{00000000-0000-0000-0000-000000000000}"/>
          </ac:spMkLst>
        </pc:spChg>
        <pc:spChg chg="mod">
          <ac:chgData name="Shekhar Kumar" userId="039e56cb-7030-4a3e-865a-a9416a791e28" providerId="ADAL" clId="{8E36AF00-0C6B-4CA9-8CBA-C75F69487383}" dt="2021-10-28T19:42:37.985" v="85" actId="20577"/>
          <ac:spMkLst>
            <pc:docMk/>
            <pc:sldMk cId="3136362510" sldId="2103813178"/>
            <ac:spMk id="19" creationId="{0A989110-7756-4409-A23D-5CA0C1E50BB8}"/>
          </ac:spMkLst>
        </pc:spChg>
        <pc:spChg chg="del">
          <ac:chgData name="Shekhar Kumar" userId="039e56cb-7030-4a3e-865a-a9416a791e28" providerId="ADAL" clId="{8E36AF00-0C6B-4CA9-8CBA-C75F69487383}" dt="2021-11-01T21:04:51.779" v="2707" actId="478"/>
          <ac:spMkLst>
            <pc:docMk/>
            <pc:sldMk cId="3136362510" sldId="2103813178"/>
            <ac:spMk id="93" creationId="{B72A5251-FDF3-4984-971E-5D917AE15BE8}"/>
          </ac:spMkLst>
        </pc:spChg>
        <pc:spChg chg="del">
          <ac:chgData name="Shekhar Kumar" userId="039e56cb-7030-4a3e-865a-a9416a791e28" providerId="ADAL" clId="{8E36AF00-0C6B-4CA9-8CBA-C75F69487383}" dt="2021-11-01T21:04:55.706" v="2708" actId="478"/>
          <ac:spMkLst>
            <pc:docMk/>
            <pc:sldMk cId="3136362510" sldId="2103813178"/>
            <ac:spMk id="95" creationId="{7694C6CB-E8CF-410E-9FF0-7A9729069515}"/>
          </ac:spMkLst>
        </pc:spChg>
      </pc:sldChg>
      <pc:sldChg chg="addSp modSp mod ord">
        <pc:chgData name="Shekhar Kumar" userId="039e56cb-7030-4a3e-865a-a9416a791e28" providerId="ADAL" clId="{8E36AF00-0C6B-4CA9-8CBA-C75F69487383}" dt="2021-10-28T20:24:02.108" v="2488"/>
        <pc:sldMkLst>
          <pc:docMk/>
          <pc:sldMk cId="3862572589" sldId="2103813184"/>
        </pc:sldMkLst>
        <pc:spChg chg="mod">
          <ac:chgData name="Shekhar Kumar" userId="039e56cb-7030-4a3e-865a-a9416a791e28" providerId="ADAL" clId="{8E36AF00-0C6B-4CA9-8CBA-C75F69487383}" dt="2021-10-28T20:19:03.118" v="2239" actId="1076"/>
          <ac:spMkLst>
            <pc:docMk/>
            <pc:sldMk cId="3862572589" sldId="2103813184"/>
            <ac:spMk id="7" creationId="{18CAFC17-DA08-4ACE-9161-89A754E1C2BD}"/>
          </ac:spMkLst>
        </pc:spChg>
        <pc:spChg chg="mod">
          <ac:chgData name="Shekhar Kumar" userId="039e56cb-7030-4a3e-865a-a9416a791e28" providerId="ADAL" clId="{8E36AF00-0C6B-4CA9-8CBA-C75F69487383}" dt="2021-10-28T20:19:32.308" v="2261" actId="20577"/>
          <ac:spMkLst>
            <pc:docMk/>
            <pc:sldMk cId="3862572589" sldId="2103813184"/>
            <ac:spMk id="10" creationId="{501A3214-5544-4087-8415-8E4DC51D70D0}"/>
          </ac:spMkLst>
        </pc:spChg>
        <pc:spChg chg="mod">
          <ac:chgData name="Shekhar Kumar" userId="039e56cb-7030-4a3e-865a-a9416a791e28" providerId="ADAL" clId="{8E36AF00-0C6B-4CA9-8CBA-C75F69487383}" dt="2021-10-28T20:17:26.555" v="2108" actId="1076"/>
          <ac:spMkLst>
            <pc:docMk/>
            <pc:sldMk cId="3862572589" sldId="2103813184"/>
            <ac:spMk id="11" creationId="{DAED2A63-F079-4A15-A5DF-C29A9E4AF8A7}"/>
          </ac:spMkLst>
        </pc:spChg>
        <pc:spChg chg="add mod">
          <ac:chgData name="Shekhar Kumar" userId="039e56cb-7030-4a3e-865a-a9416a791e28" providerId="ADAL" clId="{8E36AF00-0C6B-4CA9-8CBA-C75F69487383}" dt="2021-10-28T20:17:58.680" v="2159" actId="20577"/>
          <ac:spMkLst>
            <pc:docMk/>
            <pc:sldMk cId="3862572589" sldId="2103813184"/>
            <ac:spMk id="17" creationId="{E2B0A4F6-07A4-4A22-BE4E-24DD670918BD}"/>
          </ac:spMkLst>
        </pc:spChg>
        <pc:spChg chg="add mod">
          <ac:chgData name="Shekhar Kumar" userId="039e56cb-7030-4a3e-865a-a9416a791e28" providerId="ADAL" clId="{8E36AF00-0C6B-4CA9-8CBA-C75F69487383}" dt="2021-10-28T20:18:51.017" v="2224" actId="20577"/>
          <ac:spMkLst>
            <pc:docMk/>
            <pc:sldMk cId="3862572589" sldId="2103813184"/>
            <ac:spMk id="18" creationId="{0534DDDE-2871-49E9-ACD9-694904F2B0DC}"/>
          </ac:spMkLst>
        </pc:spChg>
        <pc:spChg chg="add mod">
          <ac:chgData name="Shekhar Kumar" userId="039e56cb-7030-4a3e-865a-a9416a791e28" providerId="ADAL" clId="{8E36AF00-0C6B-4CA9-8CBA-C75F69487383}" dt="2021-10-28T20:19:47.025" v="2298" actId="20577"/>
          <ac:spMkLst>
            <pc:docMk/>
            <pc:sldMk cId="3862572589" sldId="2103813184"/>
            <ac:spMk id="19" creationId="{2786C2B2-FDFA-430F-9BDB-14064A499EDE}"/>
          </ac:spMkLst>
        </pc:spChg>
        <pc:spChg chg="add mod">
          <ac:chgData name="Shekhar Kumar" userId="039e56cb-7030-4a3e-865a-a9416a791e28" providerId="ADAL" clId="{8E36AF00-0C6B-4CA9-8CBA-C75F69487383}" dt="2021-10-28T20:20:19.823" v="2345" actId="20577"/>
          <ac:spMkLst>
            <pc:docMk/>
            <pc:sldMk cId="3862572589" sldId="2103813184"/>
            <ac:spMk id="20" creationId="{652B03C2-3230-4F98-9644-C682D35DF96A}"/>
          </ac:spMkLst>
        </pc:spChg>
      </pc:sldChg>
      <pc:sldChg chg="modSp">
        <pc:chgData name="Shekhar Kumar" userId="039e56cb-7030-4a3e-865a-a9416a791e28" providerId="ADAL" clId="{8E36AF00-0C6B-4CA9-8CBA-C75F69487383}" dt="2021-10-28T19:43:18.130" v="114" actId="20577"/>
        <pc:sldMkLst>
          <pc:docMk/>
          <pc:sldMk cId="1401520586" sldId="2103813185"/>
        </pc:sldMkLst>
        <pc:graphicFrameChg chg="mod">
          <ac:chgData name="Shekhar Kumar" userId="039e56cb-7030-4a3e-865a-a9416a791e28" providerId="ADAL" clId="{8E36AF00-0C6B-4CA9-8CBA-C75F69487383}" dt="2021-10-28T19:43:18.130" v="114" actId="20577"/>
          <ac:graphicFrameMkLst>
            <pc:docMk/>
            <pc:sldMk cId="1401520586" sldId="2103813185"/>
            <ac:graphicFrameMk id="7" creationId="{A50D62A7-B1D7-4658-A657-814F5BB68627}"/>
          </ac:graphicFrameMkLst>
        </pc:graphicFrameChg>
      </pc:sldChg>
      <pc:sldChg chg="modSp">
        <pc:chgData name="Shekhar Kumar" userId="039e56cb-7030-4a3e-865a-a9416a791e28" providerId="ADAL" clId="{8E36AF00-0C6B-4CA9-8CBA-C75F69487383}" dt="2021-10-28T19:44:23.742" v="171" actId="20577"/>
        <pc:sldMkLst>
          <pc:docMk/>
          <pc:sldMk cId="1774292408" sldId="2103813187"/>
        </pc:sldMkLst>
        <pc:graphicFrameChg chg="mod">
          <ac:chgData name="Shekhar Kumar" userId="039e56cb-7030-4a3e-865a-a9416a791e28" providerId="ADAL" clId="{8E36AF00-0C6B-4CA9-8CBA-C75F69487383}" dt="2021-10-28T19:44:23.742" v="171" actId="20577"/>
          <ac:graphicFrameMkLst>
            <pc:docMk/>
            <pc:sldMk cId="1774292408" sldId="2103813187"/>
            <ac:graphicFrameMk id="7" creationId="{A50D62A7-B1D7-4658-A657-814F5BB68627}"/>
          </ac:graphicFrameMkLst>
        </pc:graphicFrameChg>
      </pc:sldChg>
      <pc:sldChg chg="delSp add delDesignElem">
        <pc:chgData name="Shekhar Kumar" userId="039e56cb-7030-4a3e-865a-a9416a791e28" providerId="ADAL" clId="{8E36AF00-0C6B-4CA9-8CBA-C75F69487383}" dt="2021-10-28T20:32:59.599" v="2583"/>
        <pc:sldMkLst>
          <pc:docMk/>
          <pc:sldMk cId="99656328" sldId="2103813189"/>
        </pc:sldMkLst>
        <pc:spChg chg="del">
          <ac:chgData name="Shekhar Kumar" userId="039e56cb-7030-4a3e-865a-a9416a791e28" providerId="ADAL" clId="{8E36AF00-0C6B-4CA9-8CBA-C75F69487383}" dt="2021-10-28T20:32:59.599" v="2583"/>
          <ac:spMkLst>
            <pc:docMk/>
            <pc:sldMk cId="99656328" sldId="2103813189"/>
            <ac:spMk id="24" creationId="{2B566528-1B12-4246-9431-5C2D7D081168}"/>
          </ac:spMkLst>
        </pc:spChg>
        <pc:spChg chg="del">
          <ac:chgData name="Shekhar Kumar" userId="039e56cb-7030-4a3e-865a-a9416a791e28" providerId="ADAL" clId="{8E36AF00-0C6B-4CA9-8CBA-C75F69487383}" dt="2021-10-28T20:32:59.599" v="2583"/>
          <ac:spMkLst>
            <pc:docMk/>
            <pc:sldMk cId="99656328" sldId="2103813189"/>
            <ac:spMk id="26" creationId="{2E80C965-DB6D-4F81-9E9E-B027384D0BD6}"/>
          </ac:spMkLst>
        </pc:spChg>
        <pc:spChg chg="del">
          <ac:chgData name="Shekhar Kumar" userId="039e56cb-7030-4a3e-865a-a9416a791e28" providerId="ADAL" clId="{8E36AF00-0C6B-4CA9-8CBA-C75F69487383}" dt="2021-10-28T20:32:59.599" v="2583"/>
          <ac:spMkLst>
            <pc:docMk/>
            <pc:sldMk cId="99656328" sldId="2103813189"/>
            <ac:spMk id="28" creationId="{A580F890-B085-4E95-96AA-55AEBEC5CE6E}"/>
          </ac:spMkLst>
        </pc:spChg>
        <pc:spChg chg="del">
          <ac:chgData name="Shekhar Kumar" userId="039e56cb-7030-4a3e-865a-a9416a791e28" providerId="ADAL" clId="{8E36AF00-0C6B-4CA9-8CBA-C75F69487383}" dt="2021-10-28T20:32:59.599" v="2583"/>
          <ac:spMkLst>
            <pc:docMk/>
            <pc:sldMk cId="99656328" sldId="2103813189"/>
            <ac:spMk id="30" creationId="{D3F51FEB-38FB-4F6C-9F7B-2F2AFAB65463}"/>
          </ac:spMkLst>
        </pc:spChg>
        <pc:spChg chg="del">
          <ac:chgData name="Shekhar Kumar" userId="039e56cb-7030-4a3e-865a-a9416a791e28" providerId="ADAL" clId="{8E36AF00-0C6B-4CA9-8CBA-C75F69487383}" dt="2021-10-28T20:32:59.599" v="2583"/>
          <ac:spMkLst>
            <pc:docMk/>
            <pc:sldMk cId="99656328" sldId="2103813189"/>
            <ac:spMk id="32" creationId="{1E547BA6-BAE0-43BB-A7CA-60F69CE252F0}"/>
          </ac:spMkLst>
        </pc:spChg>
      </pc:sldChg>
      <pc:sldChg chg="modSp del">
        <pc:chgData name="Shekhar Kumar" userId="039e56cb-7030-4a3e-865a-a9416a791e28" providerId="ADAL" clId="{8E36AF00-0C6B-4CA9-8CBA-C75F69487383}" dt="2021-10-28T20:32:54.924" v="2580" actId="2696"/>
        <pc:sldMkLst>
          <pc:docMk/>
          <pc:sldMk cId="2232757701" sldId="2103813189"/>
        </pc:sldMkLst>
        <pc:graphicFrameChg chg="mod">
          <ac:chgData name="Shekhar Kumar" userId="039e56cb-7030-4a3e-865a-a9416a791e28" providerId="ADAL" clId="{8E36AF00-0C6B-4CA9-8CBA-C75F69487383}" dt="2021-10-28T19:41:11.191" v="27" actId="20577"/>
          <ac:graphicFrameMkLst>
            <pc:docMk/>
            <pc:sldMk cId="2232757701" sldId="2103813189"/>
            <ac:graphicFrameMk id="20" creationId="{4E000E00-127E-4443-B441-66364667EA86}"/>
          </ac:graphicFrameMkLst>
        </pc:graphicFrameChg>
      </pc:sldChg>
      <pc:sldChg chg="modSp del">
        <pc:chgData name="Shekhar Kumar" userId="039e56cb-7030-4a3e-865a-a9416a791e28" providerId="ADAL" clId="{8E36AF00-0C6B-4CA9-8CBA-C75F69487383}" dt="2021-10-28T20:32:54.924" v="2580" actId="2696"/>
        <pc:sldMkLst>
          <pc:docMk/>
          <pc:sldMk cId="2486934978" sldId="2103813190"/>
        </pc:sldMkLst>
        <pc:graphicFrameChg chg="mod">
          <ac:chgData name="Shekhar Kumar" userId="039e56cb-7030-4a3e-865a-a9416a791e28" providerId="ADAL" clId="{8E36AF00-0C6B-4CA9-8CBA-C75F69487383}" dt="2021-10-28T19:49:10.193" v="368" actId="20577"/>
          <ac:graphicFrameMkLst>
            <pc:docMk/>
            <pc:sldMk cId="2486934978" sldId="2103813190"/>
            <ac:graphicFrameMk id="37" creationId="{57883E74-9F1F-44B4-96C7-AC8036101B40}"/>
          </ac:graphicFrameMkLst>
        </pc:graphicFrameChg>
      </pc:sldChg>
      <pc:sldChg chg="delSp add delDesignElem">
        <pc:chgData name="Shekhar Kumar" userId="039e56cb-7030-4a3e-865a-a9416a791e28" providerId="ADAL" clId="{8E36AF00-0C6B-4CA9-8CBA-C75F69487383}" dt="2021-10-28T20:32:59.599" v="2583"/>
        <pc:sldMkLst>
          <pc:docMk/>
          <pc:sldMk cId="3048968743" sldId="2103813190"/>
        </pc:sldMkLst>
        <pc:spChg chg="del">
          <ac:chgData name="Shekhar Kumar" userId="039e56cb-7030-4a3e-865a-a9416a791e28" providerId="ADAL" clId="{8E36AF00-0C6B-4CA9-8CBA-C75F69487383}" dt="2021-10-28T20:32:59.599" v="2583"/>
          <ac:spMkLst>
            <pc:docMk/>
            <pc:sldMk cId="3048968743" sldId="2103813190"/>
            <ac:spMk id="41" creationId="{2B566528-1B12-4246-9431-5C2D7D081168}"/>
          </ac:spMkLst>
        </pc:spChg>
        <pc:spChg chg="del">
          <ac:chgData name="Shekhar Kumar" userId="039e56cb-7030-4a3e-865a-a9416a791e28" providerId="ADAL" clId="{8E36AF00-0C6B-4CA9-8CBA-C75F69487383}" dt="2021-10-28T20:32:59.599" v="2583"/>
          <ac:spMkLst>
            <pc:docMk/>
            <pc:sldMk cId="3048968743" sldId="2103813190"/>
            <ac:spMk id="43" creationId="{2E80C965-DB6D-4F81-9E9E-B027384D0BD6}"/>
          </ac:spMkLst>
        </pc:spChg>
        <pc:spChg chg="del">
          <ac:chgData name="Shekhar Kumar" userId="039e56cb-7030-4a3e-865a-a9416a791e28" providerId="ADAL" clId="{8E36AF00-0C6B-4CA9-8CBA-C75F69487383}" dt="2021-10-28T20:32:59.599" v="2583"/>
          <ac:spMkLst>
            <pc:docMk/>
            <pc:sldMk cId="3048968743" sldId="2103813190"/>
            <ac:spMk id="45" creationId="{A580F890-B085-4E95-96AA-55AEBEC5CE6E}"/>
          </ac:spMkLst>
        </pc:spChg>
        <pc:spChg chg="del">
          <ac:chgData name="Shekhar Kumar" userId="039e56cb-7030-4a3e-865a-a9416a791e28" providerId="ADAL" clId="{8E36AF00-0C6B-4CA9-8CBA-C75F69487383}" dt="2021-10-28T20:32:59.599" v="2583"/>
          <ac:spMkLst>
            <pc:docMk/>
            <pc:sldMk cId="3048968743" sldId="2103813190"/>
            <ac:spMk id="47" creationId="{D3F51FEB-38FB-4F6C-9F7B-2F2AFAB65463}"/>
          </ac:spMkLst>
        </pc:spChg>
        <pc:spChg chg="del">
          <ac:chgData name="Shekhar Kumar" userId="039e56cb-7030-4a3e-865a-a9416a791e28" providerId="ADAL" clId="{8E36AF00-0C6B-4CA9-8CBA-C75F69487383}" dt="2021-10-28T20:32:59.599" v="2583"/>
          <ac:spMkLst>
            <pc:docMk/>
            <pc:sldMk cId="3048968743" sldId="2103813190"/>
            <ac:spMk id="49" creationId="{1E547BA6-BAE0-43BB-A7CA-60F69CE252F0}"/>
          </ac:spMkLst>
        </pc:spChg>
      </pc:sldChg>
      <pc:sldChg chg="modSp mod">
        <pc:chgData name="Shekhar Kumar" userId="039e56cb-7030-4a3e-865a-a9416a791e28" providerId="ADAL" clId="{8E36AF00-0C6B-4CA9-8CBA-C75F69487383}" dt="2021-10-28T19:43:06.190" v="112" actId="20577"/>
        <pc:sldMkLst>
          <pc:docMk/>
          <pc:sldMk cId="1237434436" sldId="2103813192"/>
        </pc:sldMkLst>
        <pc:spChg chg="mod">
          <ac:chgData name="Shekhar Kumar" userId="039e56cb-7030-4a3e-865a-a9416a791e28" providerId="ADAL" clId="{8E36AF00-0C6B-4CA9-8CBA-C75F69487383}" dt="2021-10-28T19:43:06.190" v="112" actId="20577"/>
          <ac:spMkLst>
            <pc:docMk/>
            <pc:sldMk cId="1237434436" sldId="2103813192"/>
            <ac:spMk id="3" creationId="{7651A735-186D-43CA-85E7-3609828FDAE7}"/>
          </ac:spMkLst>
        </pc:spChg>
      </pc:sldChg>
      <pc:sldChg chg="modSp mod">
        <pc:chgData name="Shekhar Kumar" userId="039e56cb-7030-4a3e-865a-a9416a791e28" providerId="ADAL" clId="{8E36AF00-0C6B-4CA9-8CBA-C75F69487383}" dt="2021-10-28T19:44:51.275" v="207" actId="20577"/>
        <pc:sldMkLst>
          <pc:docMk/>
          <pc:sldMk cId="919415079" sldId="2103813193"/>
        </pc:sldMkLst>
        <pc:spChg chg="mod">
          <ac:chgData name="Shekhar Kumar" userId="039e56cb-7030-4a3e-865a-a9416a791e28" providerId="ADAL" clId="{8E36AF00-0C6B-4CA9-8CBA-C75F69487383}" dt="2021-10-28T19:44:51.275" v="207" actId="20577"/>
          <ac:spMkLst>
            <pc:docMk/>
            <pc:sldMk cId="919415079" sldId="2103813193"/>
            <ac:spMk id="2" creationId="{750D2598-5302-4F1E-B668-73A42111B9E0}"/>
          </ac:spMkLst>
        </pc:spChg>
        <pc:spChg chg="mod">
          <ac:chgData name="Shekhar Kumar" userId="039e56cb-7030-4a3e-865a-a9416a791e28" providerId="ADAL" clId="{8E36AF00-0C6B-4CA9-8CBA-C75F69487383}" dt="2021-10-28T19:44:43.660" v="172" actId="6549"/>
          <ac:spMkLst>
            <pc:docMk/>
            <pc:sldMk cId="919415079" sldId="2103813193"/>
            <ac:spMk id="3" creationId="{F1C7331E-5929-446A-AFDF-B621864EBCC8}"/>
          </ac:spMkLst>
        </pc:spChg>
      </pc:sldChg>
      <pc:sldChg chg="modSp mod ord">
        <pc:chgData name="Shekhar Kumar" userId="039e56cb-7030-4a3e-865a-a9416a791e28" providerId="ADAL" clId="{8E36AF00-0C6B-4CA9-8CBA-C75F69487383}" dt="2021-10-28T19:45:14.741" v="238"/>
        <pc:sldMkLst>
          <pc:docMk/>
          <pc:sldMk cId="1054351338" sldId="2103813197"/>
        </pc:sldMkLst>
        <pc:spChg chg="mod">
          <ac:chgData name="Shekhar Kumar" userId="039e56cb-7030-4a3e-865a-a9416a791e28" providerId="ADAL" clId="{8E36AF00-0C6B-4CA9-8CBA-C75F69487383}" dt="2021-10-28T19:45:08.775" v="236" actId="20577"/>
          <ac:spMkLst>
            <pc:docMk/>
            <pc:sldMk cId="1054351338" sldId="2103813197"/>
            <ac:spMk id="2" creationId="{750D2598-5302-4F1E-B668-73A42111B9E0}"/>
          </ac:spMkLst>
        </pc:spChg>
      </pc:sldChg>
      <pc:sldChg chg="modSp mod">
        <pc:chgData name="Shekhar Kumar" userId="039e56cb-7030-4a3e-865a-a9416a791e28" providerId="ADAL" clId="{8E36AF00-0C6B-4CA9-8CBA-C75F69487383}" dt="2021-10-28T19:45:28.767" v="247" actId="20577"/>
        <pc:sldMkLst>
          <pc:docMk/>
          <pc:sldMk cId="1522986576" sldId="2103813200"/>
        </pc:sldMkLst>
        <pc:spChg chg="mod">
          <ac:chgData name="Shekhar Kumar" userId="039e56cb-7030-4a3e-865a-a9416a791e28" providerId="ADAL" clId="{8E36AF00-0C6B-4CA9-8CBA-C75F69487383}" dt="2021-10-28T19:45:28.767" v="247" actId="20577"/>
          <ac:spMkLst>
            <pc:docMk/>
            <pc:sldMk cId="1522986576" sldId="2103813200"/>
            <ac:spMk id="2" creationId="{750D2598-5302-4F1E-B668-73A42111B9E0}"/>
          </ac:spMkLst>
        </pc:spChg>
      </pc:sldChg>
      <pc:sldChg chg="modSp mod">
        <pc:chgData name="Shekhar Kumar" userId="039e56cb-7030-4a3e-865a-a9416a791e28" providerId="ADAL" clId="{8E36AF00-0C6B-4CA9-8CBA-C75F69487383}" dt="2021-10-28T19:45:38.917" v="260" actId="20577"/>
        <pc:sldMkLst>
          <pc:docMk/>
          <pc:sldMk cId="869681155" sldId="2103813202"/>
        </pc:sldMkLst>
        <pc:spChg chg="mod">
          <ac:chgData name="Shekhar Kumar" userId="039e56cb-7030-4a3e-865a-a9416a791e28" providerId="ADAL" clId="{8E36AF00-0C6B-4CA9-8CBA-C75F69487383}" dt="2021-10-28T19:45:38.917" v="260" actId="20577"/>
          <ac:spMkLst>
            <pc:docMk/>
            <pc:sldMk cId="869681155" sldId="2103813202"/>
            <ac:spMk id="2" creationId="{750D2598-5302-4F1E-B668-73A42111B9E0}"/>
          </ac:spMkLst>
        </pc:spChg>
      </pc:sldChg>
      <pc:sldChg chg="addSp modSp mod setBg">
        <pc:chgData name="Shekhar Kumar" userId="039e56cb-7030-4a3e-865a-a9416a791e28" providerId="ADAL" clId="{8E36AF00-0C6B-4CA9-8CBA-C75F69487383}" dt="2021-10-28T20:33:27.805" v="2586" actId="26606"/>
        <pc:sldMkLst>
          <pc:docMk/>
          <pc:sldMk cId="3641448818" sldId="2103813207"/>
        </pc:sldMkLst>
        <pc:spChg chg="mod">
          <ac:chgData name="Shekhar Kumar" userId="039e56cb-7030-4a3e-865a-a9416a791e28" providerId="ADAL" clId="{8E36AF00-0C6B-4CA9-8CBA-C75F69487383}" dt="2021-10-28T20:33:27.805" v="2586" actId="26606"/>
          <ac:spMkLst>
            <pc:docMk/>
            <pc:sldMk cId="3641448818" sldId="2103813207"/>
            <ac:spMk id="2" creationId="{B813A7FC-C577-4768-9EBF-F82227BEFE12}"/>
          </ac:spMkLst>
        </pc:spChg>
        <pc:spChg chg="add">
          <ac:chgData name="Shekhar Kumar" userId="039e56cb-7030-4a3e-865a-a9416a791e28" providerId="ADAL" clId="{8E36AF00-0C6B-4CA9-8CBA-C75F69487383}" dt="2021-10-28T20:33:27.805" v="2586" actId="26606"/>
          <ac:spMkLst>
            <pc:docMk/>
            <pc:sldMk cId="3641448818" sldId="2103813207"/>
            <ac:spMk id="8" creationId="{6B3BAD04-E614-4C16-8360-019FCF0045AC}"/>
          </ac:spMkLst>
        </pc:spChg>
        <pc:picChg chg="add">
          <ac:chgData name="Shekhar Kumar" userId="039e56cb-7030-4a3e-865a-a9416a791e28" providerId="ADAL" clId="{8E36AF00-0C6B-4CA9-8CBA-C75F69487383}" dt="2021-10-28T20:33:27.805" v="2586" actId="26606"/>
          <ac:picMkLst>
            <pc:docMk/>
            <pc:sldMk cId="3641448818" sldId="2103813207"/>
            <ac:picMk id="4" creationId="{368525BA-747D-436F-858F-A3174221E8DF}"/>
          </ac:picMkLst>
        </pc:picChg>
      </pc:sldChg>
      <pc:sldChg chg="del">
        <pc:chgData name="Shekhar Kumar" userId="039e56cb-7030-4a3e-865a-a9416a791e28" providerId="ADAL" clId="{8E36AF00-0C6B-4CA9-8CBA-C75F69487383}" dt="2021-10-28T20:33:35.132" v="2587" actId="47"/>
        <pc:sldMkLst>
          <pc:docMk/>
          <pc:sldMk cId="1052171641" sldId="2103813208"/>
        </pc:sldMkLst>
      </pc:sldChg>
      <pc:sldChg chg="modSp add mod">
        <pc:chgData name="Shekhar Kumar" userId="039e56cb-7030-4a3e-865a-a9416a791e28" providerId="ADAL" clId="{8E36AF00-0C6B-4CA9-8CBA-C75F69487383}" dt="2021-10-28T19:45:57.305" v="297" actId="20577"/>
        <pc:sldMkLst>
          <pc:docMk/>
          <pc:sldMk cId="46721248" sldId="2103813209"/>
        </pc:sldMkLst>
        <pc:spChg chg="mod">
          <ac:chgData name="Shekhar Kumar" userId="039e56cb-7030-4a3e-865a-a9416a791e28" providerId="ADAL" clId="{8E36AF00-0C6B-4CA9-8CBA-C75F69487383}" dt="2021-10-28T19:45:57.305" v="297" actId="20577"/>
          <ac:spMkLst>
            <pc:docMk/>
            <pc:sldMk cId="46721248" sldId="2103813209"/>
            <ac:spMk id="2" creationId="{750D2598-5302-4F1E-B668-73A42111B9E0}"/>
          </ac:spMkLst>
        </pc:spChg>
      </pc:sldChg>
      <pc:sldChg chg="addSp delSp add del setBg delDesignElem">
        <pc:chgData name="Shekhar Kumar" userId="039e56cb-7030-4a3e-865a-a9416a791e28" providerId="ADAL" clId="{8E36AF00-0C6B-4CA9-8CBA-C75F69487383}" dt="2021-10-28T19:45:48.074" v="263"/>
        <pc:sldMkLst>
          <pc:docMk/>
          <pc:sldMk cId="1805676499" sldId="2103813209"/>
        </pc:sldMkLst>
        <pc:spChg chg="add del">
          <ac:chgData name="Shekhar Kumar" userId="039e56cb-7030-4a3e-865a-a9416a791e28" providerId="ADAL" clId="{8E36AF00-0C6B-4CA9-8CBA-C75F69487383}" dt="2021-10-28T19:45:48.074" v="263"/>
          <ac:spMkLst>
            <pc:docMk/>
            <pc:sldMk cId="1805676499" sldId="2103813209"/>
            <ac:spMk id="5" creationId="{B6CDA21F-E7AF-4C75-8395-33F58D5B0E45}"/>
          </ac:spMkLst>
        </pc:spChg>
        <pc:spChg chg="add del">
          <ac:chgData name="Shekhar Kumar" userId="039e56cb-7030-4a3e-865a-a9416a791e28" providerId="ADAL" clId="{8E36AF00-0C6B-4CA9-8CBA-C75F69487383}" dt="2021-10-28T19:45:48.074" v="263"/>
          <ac:spMkLst>
            <pc:docMk/>
            <pc:sldMk cId="1805676499" sldId="2103813209"/>
            <ac:spMk id="7" creationId="{D5B0017B-2ECA-49AF-B397-DC140825DF8D}"/>
          </ac:spMkLst>
        </pc:spChg>
        <pc:grpChg chg="add del">
          <ac:chgData name="Shekhar Kumar" userId="039e56cb-7030-4a3e-865a-a9416a791e28" providerId="ADAL" clId="{8E36AF00-0C6B-4CA9-8CBA-C75F69487383}" dt="2021-10-28T19:45:48.074" v="263"/>
          <ac:grpSpMkLst>
            <pc:docMk/>
            <pc:sldMk cId="1805676499" sldId="2103813209"/>
            <ac:grpSpMk id="6" creationId="{AE1C45F0-260A-458C-96ED-C1F6D2151219}"/>
          </ac:grpSpMkLst>
        </pc:grpChg>
        <pc:cxnChg chg="add del">
          <ac:chgData name="Shekhar Kumar" userId="039e56cb-7030-4a3e-865a-a9416a791e28" providerId="ADAL" clId="{8E36AF00-0C6B-4CA9-8CBA-C75F69487383}" dt="2021-10-28T19:45:48.074" v="263"/>
          <ac:cxnSpMkLst>
            <pc:docMk/>
            <pc:sldMk cId="1805676499" sldId="2103813209"/>
            <ac:cxnSpMk id="9" creationId="{6CF1BAF6-AD41-4082-B212-8A1F9A2E8779}"/>
          </ac:cxnSpMkLst>
        </pc:cxnChg>
      </pc:sldChg>
      <pc:sldChg chg="addSp delSp modSp new del mod ord">
        <pc:chgData name="Shekhar Kumar" userId="039e56cb-7030-4a3e-865a-a9416a791e28" providerId="ADAL" clId="{8E36AF00-0C6B-4CA9-8CBA-C75F69487383}" dt="2021-10-28T20:32:39.525" v="2578" actId="47"/>
        <pc:sldMkLst>
          <pc:docMk/>
          <pc:sldMk cId="2842593226" sldId="2103813210"/>
        </pc:sldMkLst>
        <pc:spChg chg="add del mod">
          <ac:chgData name="Shekhar Kumar" userId="039e56cb-7030-4a3e-865a-a9416a791e28" providerId="ADAL" clId="{8E36AF00-0C6B-4CA9-8CBA-C75F69487383}" dt="2021-10-28T19:46:33.772" v="302"/>
          <ac:spMkLst>
            <pc:docMk/>
            <pc:sldMk cId="2842593226" sldId="2103813210"/>
            <ac:spMk id="2" creationId="{FC45BC0A-3761-4400-A341-EBED33236FC6}"/>
          </ac:spMkLst>
        </pc:spChg>
        <pc:spChg chg="add del">
          <ac:chgData name="Shekhar Kumar" userId="039e56cb-7030-4a3e-865a-a9416a791e28" providerId="ADAL" clId="{8E36AF00-0C6B-4CA9-8CBA-C75F69487383}" dt="2021-10-28T19:47:31.376" v="304" actId="478"/>
          <ac:spMkLst>
            <pc:docMk/>
            <pc:sldMk cId="2842593226" sldId="2103813210"/>
            <ac:spMk id="3" creationId="{11D25053-37A9-4153-9F47-EB369A46F901}"/>
          </ac:spMkLst>
        </pc:spChg>
        <pc:spChg chg="add mod">
          <ac:chgData name="Shekhar Kumar" userId="039e56cb-7030-4a3e-865a-a9416a791e28" providerId="ADAL" clId="{8E36AF00-0C6B-4CA9-8CBA-C75F69487383}" dt="2021-10-28T19:47:45.756" v="312" actId="20577"/>
          <ac:spMkLst>
            <pc:docMk/>
            <pc:sldMk cId="2842593226" sldId="2103813210"/>
            <ac:spMk id="4" creationId="{0BB505D2-2F69-44CF-AE2A-E37B81C6FA5C}"/>
          </ac:spMkLst>
        </pc:spChg>
        <pc:spChg chg="add mod">
          <ac:chgData name="Shekhar Kumar" userId="039e56cb-7030-4a3e-865a-a9416a791e28" providerId="ADAL" clId="{8E36AF00-0C6B-4CA9-8CBA-C75F69487383}" dt="2021-10-28T19:56:51.274" v="1032" actId="20577"/>
          <ac:spMkLst>
            <pc:docMk/>
            <pc:sldMk cId="2842593226" sldId="2103813210"/>
            <ac:spMk id="5" creationId="{F61CB65A-99BF-4BD3-A2EE-3FA188EDC647}"/>
          </ac:spMkLst>
        </pc:spChg>
      </pc:sldChg>
      <pc:sldChg chg="new del">
        <pc:chgData name="Shekhar Kumar" userId="039e56cb-7030-4a3e-865a-a9416a791e28" providerId="ADAL" clId="{8E36AF00-0C6B-4CA9-8CBA-C75F69487383}" dt="2021-10-28T20:33:07.736" v="2584" actId="47"/>
        <pc:sldMkLst>
          <pc:docMk/>
          <pc:sldMk cId="3880203256" sldId="2103813211"/>
        </pc:sldMkLst>
      </pc:sldChg>
      <pc:sldChg chg="modSp add del mod">
        <pc:chgData name="Shekhar Kumar" userId="039e56cb-7030-4a3e-865a-a9416a791e28" providerId="ADAL" clId="{8E36AF00-0C6B-4CA9-8CBA-C75F69487383}" dt="2021-10-28T20:32:42.488" v="2579" actId="47"/>
        <pc:sldMkLst>
          <pc:docMk/>
          <pc:sldMk cId="2157718882" sldId="2103813212"/>
        </pc:sldMkLst>
        <pc:spChg chg="mod">
          <ac:chgData name="Shekhar Kumar" userId="039e56cb-7030-4a3e-865a-a9416a791e28" providerId="ADAL" clId="{8E36AF00-0C6B-4CA9-8CBA-C75F69487383}" dt="2021-10-28T19:57:31.083" v="1035" actId="20577"/>
          <ac:spMkLst>
            <pc:docMk/>
            <pc:sldMk cId="2157718882" sldId="2103813212"/>
            <ac:spMk id="4" creationId="{0BB505D2-2F69-44CF-AE2A-E37B81C6FA5C}"/>
          </ac:spMkLst>
        </pc:spChg>
        <pc:spChg chg="mod">
          <ac:chgData name="Shekhar Kumar" userId="039e56cb-7030-4a3e-865a-a9416a791e28" providerId="ADAL" clId="{8E36AF00-0C6B-4CA9-8CBA-C75F69487383}" dt="2021-10-28T20:07:42.455" v="1798" actId="20577"/>
          <ac:spMkLst>
            <pc:docMk/>
            <pc:sldMk cId="2157718882" sldId="2103813212"/>
            <ac:spMk id="5" creationId="{F61CB65A-99BF-4BD3-A2EE-3FA188EDC647}"/>
          </ac:spMkLst>
        </pc:spChg>
      </pc:sldChg>
      <pc:sldChg chg="addSp delSp new mod ord">
        <pc:chgData name="Shekhar Kumar" userId="039e56cb-7030-4a3e-865a-a9416a791e28" providerId="ADAL" clId="{8E36AF00-0C6B-4CA9-8CBA-C75F69487383}" dt="2021-10-28T19:58:19.080" v="1050" actId="478"/>
        <pc:sldMkLst>
          <pc:docMk/>
          <pc:sldMk cId="1591348588" sldId="2103813213"/>
        </pc:sldMkLst>
        <pc:spChg chg="del">
          <ac:chgData name="Shekhar Kumar" userId="039e56cb-7030-4a3e-865a-a9416a791e28" providerId="ADAL" clId="{8E36AF00-0C6B-4CA9-8CBA-C75F69487383}" dt="2021-10-28T19:58:16.612" v="1049" actId="478"/>
          <ac:spMkLst>
            <pc:docMk/>
            <pc:sldMk cId="1591348588" sldId="2103813213"/>
            <ac:spMk id="2" creationId="{B235DDDC-C6C6-4660-B1DF-D4ECD3A1A436}"/>
          </ac:spMkLst>
        </pc:spChg>
        <pc:spChg chg="del">
          <ac:chgData name="Shekhar Kumar" userId="039e56cb-7030-4a3e-865a-a9416a791e28" providerId="ADAL" clId="{8E36AF00-0C6B-4CA9-8CBA-C75F69487383}" dt="2021-10-28T19:58:14.318" v="1048" actId="478"/>
          <ac:spMkLst>
            <pc:docMk/>
            <pc:sldMk cId="1591348588" sldId="2103813213"/>
            <ac:spMk id="3" creationId="{E605F6A6-C78A-43A4-8731-475B65432E3D}"/>
          </ac:spMkLst>
        </pc:spChg>
        <pc:spChg chg="del">
          <ac:chgData name="Shekhar Kumar" userId="039e56cb-7030-4a3e-865a-a9416a791e28" providerId="ADAL" clId="{8E36AF00-0C6B-4CA9-8CBA-C75F69487383}" dt="2021-10-28T19:58:19.080" v="1050" actId="478"/>
          <ac:spMkLst>
            <pc:docMk/>
            <pc:sldMk cId="1591348588" sldId="2103813213"/>
            <ac:spMk id="4" creationId="{040182F0-22E6-4075-9303-2ADAC02C1022}"/>
          </ac:spMkLst>
        </pc:spChg>
        <pc:picChg chg="add">
          <ac:chgData name="Shekhar Kumar" userId="039e56cb-7030-4a3e-865a-a9416a791e28" providerId="ADAL" clId="{8E36AF00-0C6B-4CA9-8CBA-C75F69487383}" dt="2021-10-28T19:58:11.196" v="1047"/>
          <ac:picMkLst>
            <pc:docMk/>
            <pc:sldMk cId="1591348588" sldId="2103813213"/>
            <ac:picMk id="16386" creationId="{5CDF4C73-F5D1-4E7C-B1F9-04F2A40A3862}"/>
          </ac:picMkLst>
        </pc:picChg>
      </pc:sldChg>
      <pc:sldChg chg="new del">
        <pc:chgData name="Shekhar Kumar" userId="039e56cb-7030-4a3e-865a-a9416a791e28" providerId="ADAL" clId="{8E36AF00-0C6B-4CA9-8CBA-C75F69487383}" dt="2021-10-28T19:57:47.412" v="1039" actId="680"/>
        <pc:sldMkLst>
          <pc:docMk/>
          <pc:sldMk cId="1945988694" sldId="2103813213"/>
        </pc:sldMkLst>
      </pc:sldChg>
      <pc:sldChg chg="add del">
        <pc:chgData name="Shekhar Kumar" userId="039e56cb-7030-4a3e-865a-a9416a791e28" providerId="ADAL" clId="{8E36AF00-0C6B-4CA9-8CBA-C75F69487383}" dt="2021-10-28T19:57:51.027" v="1041"/>
        <pc:sldMkLst>
          <pc:docMk/>
          <pc:sldMk cId="2321860415" sldId="2103813213"/>
        </pc:sldMkLst>
      </pc:sldChg>
      <pc:sldChg chg="add del">
        <pc:chgData name="Shekhar Kumar" userId="039e56cb-7030-4a3e-865a-a9416a791e28" providerId="ADAL" clId="{8E36AF00-0C6B-4CA9-8CBA-C75F69487383}" dt="2021-10-28T19:58:06.301" v="1046"/>
        <pc:sldMkLst>
          <pc:docMk/>
          <pc:sldMk cId="101192740" sldId="2103813214"/>
        </pc:sldMkLst>
      </pc:sldChg>
      <pc:sldChg chg="addSp delSp modSp add mod">
        <pc:chgData name="Shekhar Kumar" userId="039e56cb-7030-4a3e-865a-a9416a791e28" providerId="ADAL" clId="{8E36AF00-0C6B-4CA9-8CBA-C75F69487383}" dt="2021-11-01T21:05:31.887" v="2711"/>
        <pc:sldMkLst>
          <pc:docMk/>
          <pc:sldMk cId="3626518836" sldId="2103813214"/>
        </pc:sldMkLst>
        <pc:spChg chg="add del mod">
          <ac:chgData name="Shekhar Kumar" userId="039e56cb-7030-4a3e-865a-a9416a791e28" providerId="ADAL" clId="{8E36AF00-0C6B-4CA9-8CBA-C75F69487383}" dt="2021-10-28T20:14:46.836" v="2009" actId="12084"/>
          <ac:spMkLst>
            <pc:docMk/>
            <pc:sldMk cId="3626518836" sldId="2103813214"/>
            <ac:spMk id="5" creationId="{F61CB65A-99BF-4BD3-A2EE-3FA188EDC647}"/>
          </ac:spMkLst>
        </pc:spChg>
        <pc:graphicFrameChg chg="add mod">
          <ac:chgData name="Shekhar Kumar" userId="039e56cb-7030-4a3e-865a-a9416a791e28" providerId="ADAL" clId="{8E36AF00-0C6B-4CA9-8CBA-C75F69487383}" dt="2021-11-01T21:05:31.887" v="2711"/>
          <ac:graphicFrameMkLst>
            <pc:docMk/>
            <pc:sldMk cId="3626518836" sldId="2103813214"/>
            <ac:graphicFrameMk id="2" creationId="{A0863B80-771E-4B4A-A438-508DE3B28D8E}"/>
          </ac:graphicFrameMkLst>
        </pc:graphicFrameChg>
        <pc:graphicFrameChg chg="add del mod">
          <ac:chgData name="Shekhar Kumar" userId="039e56cb-7030-4a3e-865a-a9416a791e28" providerId="ADAL" clId="{8E36AF00-0C6B-4CA9-8CBA-C75F69487383}" dt="2021-10-28T20:14:07.791" v="2008" actId="26606"/>
          <ac:graphicFrameMkLst>
            <pc:docMk/>
            <pc:sldMk cId="3626518836" sldId="2103813214"/>
            <ac:graphicFrameMk id="7" creationId="{1A7147A6-08A0-4C53-BDFF-57BAF669AF76}"/>
          </ac:graphicFrameMkLst>
        </pc:graphicFrameChg>
      </pc:sldChg>
      <pc:sldChg chg="addSp delSp modSp add mod setBg">
        <pc:chgData name="Shekhar Kumar" userId="039e56cb-7030-4a3e-865a-a9416a791e28" providerId="ADAL" clId="{8E36AF00-0C6B-4CA9-8CBA-C75F69487383}" dt="2021-10-28T20:23:54.055" v="2486" actId="20577"/>
        <pc:sldMkLst>
          <pc:docMk/>
          <pc:sldMk cId="3219909148" sldId="2103813215"/>
        </pc:sldMkLst>
        <pc:spChg chg="add del mod">
          <ac:chgData name="Shekhar Kumar" userId="039e56cb-7030-4a3e-865a-a9416a791e28" providerId="ADAL" clId="{8E36AF00-0C6B-4CA9-8CBA-C75F69487383}" dt="2021-10-28T20:15:20.337" v="2046" actId="12084"/>
          <ac:spMkLst>
            <pc:docMk/>
            <pc:sldMk cId="3219909148" sldId="2103813215"/>
            <ac:spMk id="5" creationId="{F61CB65A-99BF-4BD3-A2EE-3FA188EDC647}"/>
          </ac:spMkLst>
        </pc:spChg>
        <pc:graphicFrameChg chg="add del mod">
          <ac:chgData name="Shekhar Kumar" userId="039e56cb-7030-4a3e-865a-a9416a791e28" providerId="ADAL" clId="{8E36AF00-0C6B-4CA9-8CBA-C75F69487383}" dt="2021-10-28T20:13:19.775" v="2000" actId="12084"/>
          <ac:graphicFrameMkLst>
            <pc:docMk/>
            <pc:sldMk cId="3219909148" sldId="2103813215"/>
            <ac:graphicFrameMk id="2" creationId="{E7A58641-F640-42EB-B571-E3DFB2400A4D}"/>
          </ac:graphicFrameMkLst>
        </pc:graphicFrameChg>
        <pc:graphicFrameChg chg="add mod">
          <ac:chgData name="Shekhar Kumar" userId="039e56cb-7030-4a3e-865a-a9416a791e28" providerId="ADAL" clId="{8E36AF00-0C6B-4CA9-8CBA-C75F69487383}" dt="2021-10-28T20:23:54.055" v="2486" actId="20577"/>
          <ac:graphicFrameMkLst>
            <pc:docMk/>
            <pc:sldMk cId="3219909148" sldId="2103813215"/>
            <ac:graphicFrameMk id="3" creationId="{40D247F8-E905-4DDC-9A2C-C28A67FF3563}"/>
          </ac:graphicFrameMkLst>
        </pc:graphicFrameChg>
        <pc:graphicFrameChg chg="add del">
          <ac:chgData name="Shekhar Kumar" userId="039e56cb-7030-4a3e-865a-a9416a791e28" providerId="ADAL" clId="{8E36AF00-0C6B-4CA9-8CBA-C75F69487383}" dt="2021-10-28T20:14:00.864" v="2002" actId="26606"/>
          <ac:graphicFrameMkLst>
            <pc:docMk/>
            <pc:sldMk cId="3219909148" sldId="2103813215"/>
            <ac:graphicFrameMk id="7" creationId="{CCE1DBF6-8433-4FEF-9E6D-3C56999CCA73}"/>
          </ac:graphicFrameMkLst>
        </pc:graphicFrameChg>
      </pc:sldChg>
      <pc:sldChg chg="addSp delSp modSp add mod">
        <pc:chgData name="Shekhar Kumar" userId="039e56cb-7030-4a3e-865a-a9416a791e28" providerId="ADAL" clId="{8E36AF00-0C6B-4CA9-8CBA-C75F69487383}" dt="2021-10-28T20:32:27.590" v="2577" actId="11529"/>
        <pc:sldMkLst>
          <pc:docMk/>
          <pc:sldMk cId="1554612464" sldId="2103813216"/>
        </pc:sldMkLst>
        <pc:spChg chg="add mod">
          <ac:chgData name="Shekhar Kumar" userId="039e56cb-7030-4a3e-865a-a9416a791e28" providerId="ADAL" clId="{8E36AF00-0C6B-4CA9-8CBA-C75F69487383}" dt="2021-10-28T20:32:12.840" v="2576" actId="1076"/>
          <ac:spMkLst>
            <pc:docMk/>
            <pc:sldMk cId="1554612464" sldId="2103813216"/>
            <ac:spMk id="5" creationId="{B9084A55-6A47-4BE3-9237-5ECDE686808D}"/>
          </ac:spMkLst>
        </pc:spChg>
        <pc:spChg chg="add mod">
          <ac:chgData name="Shekhar Kumar" userId="039e56cb-7030-4a3e-865a-a9416a791e28" providerId="ADAL" clId="{8E36AF00-0C6B-4CA9-8CBA-C75F69487383}" dt="2021-10-28T20:27:08.444" v="2511" actId="207"/>
          <ac:spMkLst>
            <pc:docMk/>
            <pc:sldMk cId="1554612464" sldId="2103813216"/>
            <ac:spMk id="8" creationId="{6DBB1037-AD08-42DF-ABFC-D4D06CADA34E}"/>
          </ac:spMkLst>
        </pc:spChg>
        <pc:spChg chg="mod">
          <ac:chgData name="Shekhar Kumar" userId="039e56cb-7030-4a3e-865a-a9416a791e28" providerId="ADAL" clId="{8E36AF00-0C6B-4CA9-8CBA-C75F69487383}" dt="2021-10-28T20:31:01.455" v="2552" actId="1076"/>
          <ac:spMkLst>
            <pc:docMk/>
            <pc:sldMk cId="1554612464" sldId="2103813216"/>
            <ac:spMk id="19" creationId="{0A989110-7756-4409-A23D-5CA0C1E50BB8}"/>
          </ac:spMkLst>
        </pc:spChg>
        <pc:spChg chg="add del mod">
          <ac:chgData name="Shekhar Kumar" userId="039e56cb-7030-4a3e-865a-a9416a791e28" providerId="ADAL" clId="{8E36AF00-0C6B-4CA9-8CBA-C75F69487383}" dt="2021-10-28T20:25:59.359" v="2504" actId="14100"/>
          <ac:spMkLst>
            <pc:docMk/>
            <pc:sldMk cId="1554612464" sldId="2103813216"/>
            <ac:spMk id="70" creationId="{8FDBCF3D-64FA-4EE1-B940-2D7333713680}"/>
          </ac:spMkLst>
        </pc:spChg>
        <pc:spChg chg="add mod">
          <ac:chgData name="Shekhar Kumar" userId="039e56cb-7030-4a3e-865a-a9416a791e28" providerId="ADAL" clId="{8E36AF00-0C6B-4CA9-8CBA-C75F69487383}" dt="2021-10-28T20:27:37.142" v="2516" actId="1076"/>
          <ac:spMkLst>
            <pc:docMk/>
            <pc:sldMk cId="1554612464" sldId="2103813216"/>
            <ac:spMk id="77" creationId="{9424B5C3-EFA7-45DA-BD96-E065580E6566}"/>
          </ac:spMkLst>
        </pc:spChg>
        <pc:spChg chg="add mod">
          <ac:chgData name="Shekhar Kumar" userId="039e56cb-7030-4a3e-865a-a9416a791e28" providerId="ADAL" clId="{8E36AF00-0C6B-4CA9-8CBA-C75F69487383}" dt="2021-10-28T20:28:22.937" v="2527" actId="1076"/>
          <ac:spMkLst>
            <pc:docMk/>
            <pc:sldMk cId="1554612464" sldId="2103813216"/>
            <ac:spMk id="79" creationId="{51D6CB47-8D62-4719-8E19-98F7B1AC1C70}"/>
          </ac:spMkLst>
        </pc:spChg>
        <pc:spChg chg="add mod">
          <ac:chgData name="Shekhar Kumar" userId="039e56cb-7030-4a3e-865a-a9416a791e28" providerId="ADAL" clId="{8E36AF00-0C6B-4CA9-8CBA-C75F69487383}" dt="2021-10-28T20:29:43.194" v="2540" actId="113"/>
          <ac:spMkLst>
            <pc:docMk/>
            <pc:sldMk cId="1554612464" sldId="2103813216"/>
            <ac:spMk id="83" creationId="{539782B0-B8A6-4C42-A3D6-2708765B1402}"/>
          </ac:spMkLst>
        </pc:spChg>
        <pc:spChg chg="add mod">
          <ac:chgData name="Shekhar Kumar" userId="039e56cb-7030-4a3e-865a-a9416a791e28" providerId="ADAL" clId="{8E36AF00-0C6B-4CA9-8CBA-C75F69487383}" dt="2021-10-28T20:31:27.756" v="2559" actId="1076"/>
          <ac:spMkLst>
            <pc:docMk/>
            <pc:sldMk cId="1554612464" sldId="2103813216"/>
            <ac:spMk id="89" creationId="{970BF805-B2F7-4E36-BAAA-75C97C17028B}"/>
          </ac:spMkLst>
        </pc:spChg>
        <pc:spChg chg="add mod">
          <ac:chgData name="Shekhar Kumar" userId="039e56cb-7030-4a3e-865a-a9416a791e28" providerId="ADAL" clId="{8E36AF00-0C6B-4CA9-8CBA-C75F69487383}" dt="2021-10-28T20:31:52.400" v="2573" actId="20577"/>
          <ac:spMkLst>
            <pc:docMk/>
            <pc:sldMk cId="1554612464" sldId="2103813216"/>
            <ac:spMk id="90" creationId="{97E57AF1-6533-484A-9560-4C61C036051B}"/>
          </ac:spMkLst>
        </pc:spChg>
        <pc:spChg chg="mod">
          <ac:chgData name="Shekhar Kumar" userId="039e56cb-7030-4a3e-865a-a9416a791e28" providerId="ADAL" clId="{8E36AF00-0C6B-4CA9-8CBA-C75F69487383}" dt="2021-10-28T20:28:05.611" v="2521" actId="1076"/>
          <ac:spMkLst>
            <pc:docMk/>
            <pc:sldMk cId="1554612464" sldId="2103813216"/>
            <ac:spMk id="95" creationId="{7694C6CB-E8CF-410E-9FF0-7A9729069515}"/>
          </ac:spMkLst>
        </pc:spChg>
        <pc:spChg chg="mod">
          <ac:chgData name="Shekhar Kumar" userId="039e56cb-7030-4a3e-865a-a9416a791e28" providerId="ADAL" clId="{8E36AF00-0C6B-4CA9-8CBA-C75F69487383}" dt="2021-10-28T20:28:18.361" v="2525" actId="1076"/>
          <ac:spMkLst>
            <pc:docMk/>
            <pc:sldMk cId="1554612464" sldId="2103813216"/>
            <ac:spMk id="99" creationId="{C00B960D-BFCD-4A9A-ADD8-98879A581A59}"/>
          </ac:spMkLst>
        </pc:spChg>
        <pc:picChg chg="add del mod">
          <ac:chgData name="Shekhar Kumar" userId="039e56cb-7030-4a3e-865a-a9416a791e28" providerId="ADAL" clId="{8E36AF00-0C6B-4CA9-8CBA-C75F69487383}" dt="2021-10-28T20:25:48.854" v="2501" actId="478"/>
          <ac:picMkLst>
            <pc:docMk/>
            <pc:sldMk cId="1554612464" sldId="2103813216"/>
            <ac:picMk id="75" creationId="{DB0020EB-9EC7-4EC1-85CF-B22001D03729}"/>
          </ac:picMkLst>
        </pc:picChg>
        <pc:picChg chg="add mod">
          <ac:chgData name="Shekhar Kumar" userId="039e56cb-7030-4a3e-865a-a9416a791e28" providerId="ADAL" clId="{8E36AF00-0C6B-4CA9-8CBA-C75F69487383}" dt="2021-10-28T20:27:43.480" v="2517" actId="1076"/>
          <ac:picMkLst>
            <pc:docMk/>
            <pc:sldMk cId="1554612464" sldId="2103813216"/>
            <ac:picMk id="76" creationId="{29C562CC-D7B9-43F2-A7AD-8C4BCB4E6178}"/>
          </ac:picMkLst>
        </pc:picChg>
        <pc:picChg chg="add mod">
          <ac:chgData name="Shekhar Kumar" userId="039e56cb-7030-4a3e-865a-a9416a791e28" providerId="ADAL" clId="{8E36AF00-0C6B-4CA9-8CBA-C75F69487383}" dt="2021-10-28T20:30:28.850" v="2547" actId="1076"/>
          <ac:picMkLst>
            <pc:docMk/>
            <pc:sldMk cId="1554612464" sldId="2103813216"/>
            <ac:picMk id="84" creationId="{CB9BEA5A-4519-444D-B545-65AC55EC9E5D}"/>
          </ac:picMkLst>
        </pc:picChg>
        <pc:picChg chg="add mod">
          <ac:chgData name="Shekhar Kumar" userId="039e56cb-7030-4a3e-865a-a9416a791e28" providerId="ADAL" clId="{8E36AF00-0C6B-4CA9-8CBA-C75F69487383}" dt="2021-10-28T20:30:26.003" v="2546" actId="1076"/>
          <ac:picMkLst>
            <pc:docMk/>
            <pc:sldMk cId="1554612464" sldId="2103813216"/>
            <ac:picMk id="85" creationId="{D368C47A-AA5D-46F6-B442-8B7E26D24280}"/>
          </ac:picMkLst>
        </pc:picChg>
        <pc:picChg chg="add mod">
          <ac:chgData name="Shekhar Kumar" userId="039e56cb-7030-4a3e-865a-a9416a791e28" providerId="ADAL" clId="{8E36AF00-0C6B-4CA9-8CBA-C75F69487383}" dt="2021-10-28T20:31:24.073" v="2558" actId="1076"/>
          <ac:picMkLst>
            <pc:docMk/>
            <pc:sldMk cId="1554612464" sldId="2103813216"/>
            <ac:picMk id="88" creationId="{018639CF-67B1-4839-B624-E1DC036F7B7D}"/>
          </ac:picMkLst>
        </pc:picChg>
        <pc:cxnChg chg="add mod">
          <ac:chgData name="Shekhar Kumar" userId="039e56cb-7030-4a3e-865a-a9416a791e28" providerId="ADAL" clId="{8E36AF00-0C6B-4CA9-8CBA-C75F69487383}" dt="2021-10-28T20:26:11.034" v="2505" actId="11529"/>
          <ac:cxnSpMkLst>
            <pc:docMk/>
            <pc:sldMk cId="1554612464" sldId="2103813216"/>
            <ac:cxnSpMk id="7" creationId="{218C5865-44CF-41CD-ACB2-7D39C6461693}"/>
          </ac:cxnSpMkLst>
        </pc:cxnChg>
        <pc:cxnChg chg="add">
          <ac:chgData name="Shekhar Kumar" userId="039e56cb-7030-4a3e-865a-a9416a791e28" providerId="ADAL" clId="{8E36AF00-0C6B-4CA9-8CBA-C75F69487383}" dt="2021-10-28T20:28:35.012" v="2528" actId="11529"/>
          <ac:cxnSpMkLst>
            <pc:docMk/>
            <pc:sldMk cId="1554612464" sldId="2103813216"/>
            <ac:cxnSpMk id="11" creationId="{023B255F-9E6E-40A9-BBDE-4F1CF9AC7C43}"/>
          </ac:cxnSpMkLst>
        </pc:cxnChg>
        <pc:cxnChg chg="add mod">
          <ac:chgData name="Shekhar Kumar" userId="039e56cb-7030-4a3e-865a-a9416a791e28" providerId="ADAL" clId="{8E36AF00-0C6B-4CA9-8CBA-C75F69487383}" dt="2021-10-28T20:30:36.858" v="2548" actId="11529"/>
          <ac:cxnSpMkLst>
            <pc:docMk/>
            <pc:sldMk cId="1554612464" sldId="2103813216"/>
            <ac:cxnSpMk id="22" creationId="{8744205E-455A-4CBD-8846-6D733FFD51E6}"/>
          </ac:cxnSpMkLst>
        </pc:cxnChg>
        <pc:cxnChg chg="add">
          <ac:chgData name="Shekhar Kumar" userId="039e56cb-7030-4a3e-865a-a9416a791e28" providerId="ADAL" clId="{8E36AF00-0C6B-4CA9-8CBA-C75F69487383}" dt="2021-10-28T20:32:27.590" v="2577" actId="11529"/>
          <ac:cxnSpMkLst>
            <pc:docMk/>
            <pc:sldMk cId="1554612464" sldId="2103813216"/>
            <ac:cxnSpMk id="31" creationId="{13F5786B-DA9B-466A-9C26-05E26AD3F6DF}"/>
          </ac:cxnSpMkLst>
        </pc:cxnChg>
        <pc:cxnChg chg="add mod">
          <ac:chgData name="Shekhar Kumar" userId="039e56cb-7030-4a3e-865a-a9416a791e28" providerId="ADAL" clId="{8E36AF00-0C6B-4CA9-8CBA-C75F69487383}" dt="2021-10-28T20:28:49.821" v="2532" actId="14100"/>
          <ac:cxnSpMkLst>
            <pc:docMk/>
            <pc:sldMk cId="1554612464" sldId="2103813216"/>
            <ac:cxnSpMk id="80" creationId="{A138AF84-F1C3-4C7C-A656-30C78F3E2CF3}"/>
          </ac:cxnSpMkLst>
        </pc:cxnChg>
      </pc:sldChg>
      <pc:sldChg chg="add del modTransition">
        <pc:chgData name="Shekhar Kumar" userId="039e56cb-7030-4a3e-865a-a9416a791e28" providerId="ADAL" clId="{8E36AF00-0C6B-4CA9-8CBA-C75F69487383}" dt="2021-10-28T20:24:19.761" v="2490"/>
        <pc:sldMkLst>
          <pc:docMk/>
          <pc:sldMk cId="1760550388" sldId="2103813216"/>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ata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rawing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FF8F1E-FC5E-4D01-AAAE-97B6A4BB86B9}" type="doc">
      <dgm:prSet loTypeId="urn:microsoft.com/office/officeart/2018/2/layout/IconVerticalSolidList" loCatId="icon" qsTypeId="urn:microsoft.com/office/officeart/2005/8/quickstyle/simple1" qsCatId="simple" csTypeId="urn:microsoft.com/office/officeart/2005/8/colors/accent1_4" csCatId="accent1" phldr="1"/>
      <dgm:spPr/>
      <dgm:t>
        <a:bodyPr/>
        <a:lstStyle/>
        <a:p>
          <a:endParaRPr lang="en-US"/>
        </a:p>
      </dgm:t>
    </dgm:pt>
    <dgm:pt modelId="{E7182473-AF72-4614-ACA9-EDECE7922600}">
      <dgm:prSet/>
      <dgm:spPr/>
      <dgm:t>
        <a:bodyPr/>
        <a:lstStyle/>
        <a:p>
          <a:pPr>
            <a:lnSpc>
              <a:spcPct val="100000"/>
            </a:lnSpc>
          </a:pPr>
          <a:r>
            <a:rPr lang="en-US" dirty="0">
              <a:solidFill>
                <a:schemeClr val="bg1"/>
              </a:solidFill>
            </a:rPr>
            <a:t>Chief information officer Andre is responsible for making sure that all Customer data is ingested properly and is available for any other application or organization.</a:t>
          </a:r>
        </a:p>
      </dgm:t>
    </dgm:pt>
    <dgm:pt modelId="{6F4FCFB1-F266-4292-BB08-ED50C1F1787D}" type="parTrans" cxnId="{8689D1CD-9D7C-4CED-B686-D9A7956EADD5}">
      <dgm:prSet/>
      <dgm:spPr/>
      <dgm:t>
        <a:bodyPr/>
        <a:lstStyle/>
        <a:p>
          <a:endParaRPr lang="en-US"/>
        </a:p>
      </dgm:t>
    </dgm:pt>
    <dgm:pt modelId="{5C6DC509-9FC8-40CB-81DE-FDFB42858D48}" type="sibTrans" cxnId="{8689D1CD-9D7C-4CED-B686-D9A7956EADD5}">
      <dgm:prSet/>
      <dgm:spPr/>
      <dgm:t>
        <a:bodyPr/>
        <a:lstStyle/>
        <a:p>
          <a:endParaRPr lang="en-US"/>
        </a:p>
      </dgm:t>
    </dgm:pt>
    <dgm:pt modelId="{A16865B8-DA28-4469-B2B2-FC4C580DAE1D}">
      <dgm:prSet/>
      <dgm:spPr/>
      <dgm:t>
        <a:bodyPr/>
        <a:lstStyle/>
        <a:p>
          <a:pPr>
            <a:lnSpc>
              <a:spcPct val="100000"/>
            </a:lnSpc>
          </a:pPr>
          <a:r>
            <a:rPr lang="en-US" dirty="0">
              <a:solidFill>
                <a:schemeClr val="bg1"/>
              </a:solidFill>
            </a:rPr>
            <a:t>A large portion of information submitted by customers comes in either  handwritten or scanned forms. </a:t>
          </a:r>
          <a:r>
            <a:rPr lang="en-US" dirty="0" err="1">
              <a:solidFill>
                <a:schemeClr val="bg1"/>
              </a:solidFill>
            </a:rPr>
            <a:t>Woodgrove</a:t>
          </a:r>
          <a:r>
            <a:rPr lang="en-US" dirty="0">
              <a:solidFill>
                <a:schemeClr val="bg1"/>
              </a:solidFill>
            </a:rPr>
            <a:t> spends manual labor hours to scrape and digitize the data.</a:t>
          </a:r>
        </a:p>
      </dgm:t>
    </dgm:pt>
    <dgm:pt modelId="{04FC5550-CD44-4729-90C5-8E86041B2249}" type="parTrans" cxnId="{D59D2BF0-7E3B-427E-B3D1-749976BCAC58}">
      <dgm:prSet/>
      <dgm:spPr/>
      <dgm:t>
        <a:bodyPr/>
        <a:lstStyle/>
        <a:p>
          <a:endParaRPr lang="en-US"/>
        </a:p>
      </dgm:t>
    </dgm:pt>
    <dgm:pt modelId="{05BDBE4D-4947-45B6-AB47-49FFE3EE997C}" type="sibTrans" cxnId="{D59D2BF0-7E3B-427E-B3D1-749976BCAC58}">
      <dgm:prSet/>
      <dgm:spPr/>
      <dgm:t>
        <a:bodyPr/>
        <a:lstStyle/>
        <a:p>
          <a:endParaRPr lang="en-US"/>
        </a:p>
      </dgm:t>
    </dgm:pt>
    <dgm:pt modelId="{5B6516AF-0E4E-4B08-AB9D-ADB81329FCBA}">
      <dgm:prSet/>
      <dgm:spPr/>
      <dgm:t>
        <a:bodyPr/>
        <a:lstStyle/>
        <a:p>
          <a:pPr>
            <a:lnSpc>
              <a:spcPct val="100000"/>
            </a:lnSpc>
          </a:pPr>
          <a:r>
            <a:rPr lang="en-US"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gm:t>
    </dgm:pt>
    <dgm:pt modelId="{CE07DC2D-1435-4038-8E5F-19A7E592BC3C}" type="parTrans" cxnId="{B7534996-EF5D-4D2A-8648-C28A880E6925}">
      <dgm:prSet/>
      <dgm:spPr/>
      <dgm:t>
        <a:bodyPr/>
        <a:lstStyle/>
        <a:p>
          <a:endParaRPr lang="en-US"/>
        </a:p>
      </dgm:t>
    </dgm:pt>
    <dgm:pt modelId="{B19794DA-1993-436F-A818-C727EB0548C8}" type="sibTrans" cxnId="{B7534996-EF5D-4D2A-8648-C28A880E6925}">
      <dgm:prSet/>
      <dgm:spPr/>
      <dgm:t>
        <a:bodyPr/>
        <a:lstStyle/>
        <a:p>
          <a:endParaRPr lang="en-US"/>
        </a:p>
      </dgm:t>
    </dgm:pt>
    <dgm:pt modelId="{F7A90F7B-CD22-4D7A-B525-B54A76A334B7}" type="pres">
      <dgm:prSet presAssocID="{AAFF8F1E-FC5E-4D01-AAAE-97B6A4BB86B9}" presName="root" presStyleCnt="0">
        <dgm:presLayoutVars>
          <dgm:dir/>
          <dgm:resizeHandles val="exact"/>
        </dgm:presLayoutVars>
      </dgm:prSet>
      <dgm:spPr/>
    </dgm:pt>
    <dgm:pt modelId="{D36E75AD-53AB-41E7-9085-64AFE320763F}" type="pres">
      <dgm:prSet presAssocID="{E7182473-AF72-4614-ACA9-EDECE7922600}" presName="compNode" presStyleCnt="0"/>
      <dgm:spPr/>
    </dgm:pt>
    <dgm:pt modelId="{7ADF99CB-B80D-4B57-95F6-BC822C7FA524}" type="pres">
      <dgm:prSet presAssocID="{E7182473-AF72-4614-ACA9-EDECE7922600}" presName="bgRect" presStyleLbl="bgShp" presStyleIdx="0" presStyleCnt="3"/>
      <dgm:spPr/>
    </dgm:pt>
    <dgm:pt modelId="{BF036A12-00E3-4752-A5DC-EF6B8E20AAD3}" type="pres">
      <dgm:prSet presAssocID="{E7182473-AF72-4614-ACA9-EDECE792260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aptain"/>
        </a:ext>
      </dgm:extLst>
    </dgm:pt>
    <dgm:pt modelId="{469D750A-BF68-439B-A128-BA24BC4D25A7}" type="pres">
      <dgm:prSet presAssocID="{E7182473-AF72-4614-ACA9-EDECE7922600}" presName="spaceRect" presStyleCnt="0"/>
      <dgm:spPr/>
    </dgm:pt>
    <dgm:pt modelId="{E83B248A-3D8D-41D7-904C-4F8F54D55097}" type="pres">
      <dgm:prSet presAssocID="{E7182473-AF72-4614-ACA9-EDECE7922600}" presName="parTx" presStyleLbl="revTx" presStyleIdx="0" presStyleCnt="3">
        <dgm:presLayoutVars>
          <dgm:chMax val="0"/>
          <dgm:chPref val="0"/>
        </dgm:presLayoutVars>
      </dgm:prSet>
      <dgm:spPr/>
    </dgm:pt>
    <dgm:pt modelId="{48383FE2-1332-4E53-A0BE-8A203EE9DA69}" type="pres">
      <dgm:prSet presAssocID="{5C6DC509-9FC8-40CB-81DE-FDFB42858D48}" presName="sibTrans" presStyleCnt="0"/>
      <dgm:spPr/>
    </dgm:pt>
    <dgm:pt modelId="{44B543E5-3131-45BA-8254-4C5F5A7ED21A}" type="pres">
      <dgm:prSet presAssocID="{A16865B8-DA28-4469-B2B2-FC4C580DAE1D}" presName="compNode" presStyleCnt="0"/>
      <dgm:spPr/>
    </dgm:pt>
    <dgm:pt modelId="{C77B9A48-A49D-4DD5-AC7D-7CA1F1F22E56}" type="pres">
      <dgm:prSet presAssocID="{A16865B8-DA28-4469-B2B2-FC4C580DAE1D}" presName="bgRect" presStyleLbl="bgShp" presStyleIdx="1" presStyleCnt="3"/>
      <dgm:spPr/>
    </dgm:pt>
    <dgm:pt modelId="{81C8F9B7-61FA-4ACC-A1B4-F894FFE44123}" type="pres">
      <dgm:prSet presAssocID="{A16865B8-DA28-4469-B2B2-FC4C580DAE1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inter"/>
        </a:ext>
      </dgm:extLst>
    </dgm:pt>
    <dgm:pt modelId="{6A5F3419-FC83-437A-9141-B8A4B037B116}" type="pres">
      <dgm:prSet presAssocID="{A16865B8-DA28-4469-B2B2-FC4C580DAE1D}" presName="spaceRect" presStyleCnt="0"/>
      <dgm:spPr/>
    </dgm:pt>
    <dgm:pt modelId="{B704FFB3-6AFE-4271-98FF-CB5C94A28A83}" type="pres">
      <dgm:prSet presAssocID="{A16865B8-DA28-4469-B2B2-FC4C580DAE1D}" presName="parTx" presStyleLbl="revTx" presStyleIdx="1" presStyleCnt="3">
        <dgm:presLayoutVars>
          <dgm:chMax val="0"/>
          <dgm:chPref val="0"/>
        </dgm:presLayoutVars>
      </dgm:prSet>
      <dgm:spPr/>
    </dgm:pt>
    <dgm:pt modelId="{60656F5F-5FAF-4A7C-9603-482C296261AD}" type="pres">
      <dgm:prSet presAssocID="{05BDBE4D-4947-45B6-AB47-49FFE3EE997C}" presName="sibTrans" presStyleCnt="0"/>
      <dgm:spPr/>
    </dgm:pt>
    <dgm:pt modelId="{55866347-7278-4558-A1E3-4E99BABAB99E}" type="pres">
      <dgm:prSet presAssocID="{5B6516AF-0E4E-4B08-AB9D-ADB81329FCBA}" presName="compNode" presStyleCnt="0"/>
      <dgm:spPr/>
    </dgm:pt>
    <dgm:pt modelId="{650360B0-F656-4031-85C3-B985E23C9C1F}" type="pres">
      <dgm:prSet presAssocID="{5B6516AF-0E4E-4B08-AB9D-ADB81329FCBA}" presName="bgRect" presStyleLbl="bgShp" presStyleIdx="2" presStyleCnt="3"/>
      <dgm:spPr/>
    </dgm:pt>
    <dgm:pt modelId="{1B28D166-759F-4D64-B73B-698ABF7437C5}" type="pres">
      <dgm:prSet presAssocID="{5B6516AF-0E4E-4B08-AB9D-ADB81329FCB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llar"/>
        </a:ext>
      </dgm:extLst>
    </dgm:pt>
    <dgm:pt modelId="{F97170B4-56C3-40FC-A179-76DB6A0A9C29}" type="pres">
      <dgm:prSet presAssocID="{5B6516AF-0E4E-4B08-AB9D-ADB81329FCBA}" presName="spaceRect" presStyleCnt="0"/>
      <dgm:spPr/>
    </dgm:pt>
    <dgm:pt modelId="{FAEA8508-0577-4D2D-96C0-88C28B658178}" type="pres">
      <dgm:prSet presAssocID="{5B6516AF-0E4E-4B08-AB9D-ADB81329FCBA}" presName="parTx" presStyleLbl="revTx" presStyleIdx="2" presStyleCnt="3">
        <dgm:presLayoutVars>
          <dgm:chMax val="0"/>
          <dgm:chPref val="0"/>
        </dgm:presLayoutVars>
      </dgm:prSet>
      <dgm:spPr/>
    </dgm:pt>
  </dgm:ptLst>
  <dgm:cxnLst>
    <dgm:cxn modelId="{B5BD6B10-0C22-48B8-988F-8EBD0F4830BB}" type="presOf" srcId="{E7182473-AF72-4614-ACA9-EDECE7922600}" destId="{E83B248A-3D8D-41D7-904C-4F8F54D55097}" srcOrd="0" destOrd="0" presId="urn:microsoft.com/office/officeart/2018/2/layout/IconVerticalSolidList"/>
    <dgm:cxn modelId="{78A6C120-B88C-4734-BEC2-2DF418040E19}" type="presOf" srcId="{A16865B8-DA28-4469-B2B2-FC4C580DAE1D}" destId="{B704FFB3-6AFE-4271-98FF-CB5C94A28A83}" srcOrd="0" destOrd="0" presId="urn:microsoft.com/office/officeart/2018/2/layout/IconVerticalSolidList"/>
    <dgm:cxn modelId="{F63B9C3A-EE5C-461A-AB78-1845619E2EFA}" type="presOf" srcId="{5B6516AF-0E4E-4B08-AB9D-ADB81329FCBA}" destId="{FAEA8508-0577-4D2D-96C0-88C28B658178}" srcOrd="0" destOrd="0" presId="urn:microsoft.com/office/officeart/2018/2/layout/IconVerticalSolidList"/>
    <dgm:cxn modelId="{7220A75D-C000-4D15-AD99-01F1A37BFF63}" type="presOf" srcId="{AAFF8F1E-FC5E-4D01-AAAE-97B6A4BB86B9}" destId="{F7A90F7B-CD22-4D7A-B525-B54A76A334B7}" srcOrd="0" destOrd="0" presId="urn:microsoft.com/office/officeart/2018/2/layout/IconVerticalSolidList"/>
    <dgm:cxn modelId="{B7534996-EF5D-4D2A-8648-C28A880E6925}" srcId="{AAFF8F1E-FC5E-4D01-AAAE-97B6A4BB86B9}" destId="{5B6516AF-0E4E-4B08-AB9D-ADB81329FCBA}" srcOrd="2" destOrd="0" parTransId="{CE07DC2D-1435-4038-8E5F-19A7E592BC3C}" sibTransId="{B19794DA-1993-436F-A818-C727EB0548C8}"/>
    <dgm:cxn modelId="{8689D1CD-9D7C-4CED-B686-D9A7956EADD5}" srcId="{AAFF8F1E-FC5E-4D01-AAAE-97B6A4BB86B9}" destId="{E7182473-AF72-4614-ACA9-EDECE7922600}" srcOrd="0" destOrd="0" parTransId="{6F4FCFB1-F266-4292-BB08-ED50C1F1787D}" sibTransId="{5C6DC509-9FC8-40CB-81DE-FDFB42858D48}"/>
    <dgm:cxn modelId="{D59D2BF0-7E3B-427E-B3D1-749976BCAC58}" srcId="{AAFF8F1E-FC5E-4D01-AAAE-97B6A4BB86B9}" destId="{A16865B8-DA28-4469-B2B2-FC4C580DAE1D}" srcOrd="1" destOrd="0" parTransId="{04FC5550-CD44-4729-90C5-8E86041B2249}" sibTransId="{05BDBE4D-4947-45B6-AB47-49FFE3EE997C}"/>
    <dgm:cxn modelId="{3B48EAF4-0E09-46A2-B999-B30B07A1ED77}" type="presParOf" srcId="{F7A90F7B-CD22-4D7A-B525-B54A76A334B7}" destId="{D36E75AD-53AB-41E7-9085-64AFE320763F}" srcOrd="0" destOrd="0" presId="urn:microsoft.com/office/officeart/2018/2/layout/IconVerticalSolidList"/>
    <dgm:cxn modelId="{B1C1AC1C-84F0-438A-8B98-7A3A206D64CF}" type="presParOf" srcId="{D36E75AD-53AB-41E7-9085-64AFE320763F}" destId="{7ADF99CB-B80D-4B57-95F6-BC822C7FA524}" srcOrd="0" destOrd="0" presId="urn:microsoft.com/office/officeart/2018/2/layout/IconVerticalSolidList"/>
    <dgm:cxn modelId="{89C51D69-470B-4699-9AE7-AC4D64B3FAC7}" type="presParOf" srcId="{D36E75AD-53AB-41E7-9085-64AFE320763F}" destId="{BF036A12-00E3-4752-A5DC-EF6B8E20AAD3}" srcOrd="1" destOrd="0" presId="urn:microsoft.com/office/officeart/2018/2/layout/IconVerticalSolidList"/>
    <dgm:cxn modelId="{E5800943-B030-4B28-83EE-700DBDF9CF77}" type="presParOf" srcId="{D36E75AD-53AB-41E7-9085-64AFE320763F}" destId="{469D750A-BF68-439B-A128-BA24BC4D25A7}" srcOrd="2" destOrd="0" presId="urn:microsoft.com/office/officeart/2018/2/layout/IconVerticalSolidList"/>
    <dgm:cxn modelId="{5BF29FA8-459B-4482-8505-763DBDFD05AF}" type="presParOf" srcId="{D36E75AD-53AB-41E7-9085-64AFE320763F}" destId="{E83B248A-3D8D-41D7-904C-4F8F54D55097}" srcOrd="3" destOrd="0" presId="urn:microsoft.com/office/officeart/2018/2/layout/IconVerticalSolidList"/>
    <dgm:cxn modelId="{264F9653-ED79-4147-BBD7-AAA6623E7E8A}" type="presParOf" srcId="{F7A90F7B-CD22-4D7A-B525-B54A76A334B7}" destId="{48383FE2-1332-4E53-A0BE-8A203EE9DA69}" srcOrd="1" destOrd="0" presId="urn:microsoft.com/office/officeart/2018/2/layout/IconVerticalSolidList"/>
    <dgm:cxn modelId="{DCF909D8-276C-462E-8B9D-5A74B53968D9}" type="presParOf" srcId="{F7A90F7B-CD22-4D7A-B525-B54A76A334B7}" destId="{44B543E5-3131-45BA-8254-4C5F5A7ED21A}" srcOrd="2" destOrd="0" presId="urn:microsoft.com/office/officeart/2018/2/layout/IconVerticalSolidList"/>
    <dgm:cxn modelId="{CA44F9FE-EAB6-4F42-8C4E-A3C5CB1007B9}" type="presParOf" srcId="{44B543E5-3131-45BA-8254-4C5F5A7ED21A}" destId="{C77B9A48-A49D-4DD5-AC7D-7CA1F1F22E56}" srcOrd="0" destOrd="0" presId="urn:microsoft.com/office/officeart/2018/2/layout/IconVerticalSolidList"/>
    <dgm:cxn modelId="{5E24CF38-CDA9-4B6A-B517-0A4CD0DD97EC}" type="presParOf" srcId="{44B543E5-3131-45BA-8254-4C5F5A7ED21A}" destId="{81C8F9B7-61FA-4ACC-A1B4-F894FFE44123}" srcOrd="1" destOrd="0" presId="urn:microsoft.com/office/officeart/2018/2/layout/IconVerticalSolidList"/>
    <dgm:cxn modelId="{07A10113-4CBF-4B61-8592-39BB349E25A8}" type="presParOf" srcId="{44B543E5-3131-45BA-8254-4C5F5A7ED21A}" destId="{6A5F3419-FC83-437A-9141-B8A4B037B116}" srcOrd="2" destOrd="0" presId="urn:microsoft.com/office/officeart/2018/2/layout/IconVerticalSolidList"/>
    <dgm:cxn modelId="{1DC1768F-F404-46F5-9B43-5490ECE28705}" type="presParOf" srcId="{44B543E5-3131-45BA-8254-4C5F5A7ED21A}" destId="{B704FFB3-6AFE-4271-98FF-CB5C94A28A83}" srcOrd="3" destOrd="0" presId="urn:microsoft.com/office/officeart/2018/2/layout/IconVerticalSolidList"/>
    <dgm:cxn modelId="{C0421815-227B-4C69-B65C-EB48A7BF4D77}" type="presParOf" srcId="{F7A90F7B-CD22-4D7A-B525-B54A76A334B7}" destId="{60656F5F-5FAF-4A7C-9603-482C296261AD}" srcOrd="3" destOrd="0" presId="urn:microsoft.com/office/officeart/2018/2/layout/IconVerticalSolidList"/>
    <dgm:cxn modelId="{4103186E-2BEA-428E-BFEE-1283FF6497A4}" type="presParOf" srcId="{F7A90F7B-CD22-4D7A-B525-B54A76A334B7}" destId="{55866347-7278-4558-A1E3-4E99BABAB99E}" srcOrd="4" destOrd="0" presId="urn:microsoft.com/office/officeart/2018/2/layout/IconVerticalSolidList"/>
    <dgm:cxn modelId="{6E4E55AA-079D-4821-851B-935F8E894641}" type="presParOf" srcId="{55866347-7278-4558-A1E3-4E99BABAB99E}" destId="{650360B0-F656-4031-85C3-B985E23C9C1F}" srcOrd="0" destOrd="0" presId="urn:microsoft.com/office/officeart/2018/2/layout/IconVerticalSolidList"/>
    <dgm:cxn modelId="{90A55B8E-1053-421F-B0B9-75C1B56F5DF7}" type="presParOf" srcId="{55866347-7278-4558-A1E3-4E99BABAB99E}" destId="{1B28D166-759F-4D64-B73B-698ABF7437C5}" srcOrd="1" destOrd="0" presId="urn:microsoft.com/office/officeart/2018/2/layout/IconVerticalSolidList"/>
    <dgm:cxn modelId="{848F92C5-871C-40B1-BAA4-6B2FE67E4C90}" type="presParOf" srcId="{55866347-7278-4558-A1E3-4E99BABAB99E}" destId="{F97170B4-56C3-40FC-A179-76DB6A0A9C29}" srcOrd="2" destOrd="0" presId="urn:microsoft.com/office/officeart/2018/2/layout/IconVerticalSolidList"/>
    <dgm:cxn modelId="{518C217F-7BEB-4D52-875D-A4E8B19CA852}" type="presParOf" srcId="{55866347-7278-4558-A1E3-4E99BABAB99E}" destId="{FAEA8508-0577-4D2D-96C0-88C28B65817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Key Features</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Fully Managed</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EC902CFF-8554-443D-ADAB-FE39D5B5F560}">
      <dgm:prSet custT="1"/>
      <dgm:spPr/>
      <dgm:t>
        <a:bodyPr/>
        <a:lstStyle/>
        <a:p>
          <a:r>
            <a:rPr lang="en-US" sz="2400"/>
            <a:t>AI Enrichment</a:t>
          </a:r>
        </a:p>
      </dgm:t>
    </dgm:pt>
    <dgm:pt modelId="{7F3AB18C-026C-473B-A92F-B328E99360D3}" type="parTrans" cxnId="{E2650C3C-D8A5-45E6-8D33-95B2DC9A0128}">
      <dgm:prSet/>
      <dgm:spPr/>
      <dgm:t>
        <a:bodyPr/>
        <a:lstStyle/>
        <a:p>
          <a:endParaRPr lang="en-US"/>
        </a:p>
      </dgm:t>
    </dgm:pt>
    <dgm:pt modelId="{E5767E20-6549-4E16-A5C5-3325221180E8}" type="sibTrans" cxnId="{E2650C3C-D8A5-45E6-8D33-95B2DC9A0128}">
      <dgm:prSet/>
      <dgm:spPr/>
      <dgm:t>
        <a:bodyPr/>
        <a:lstStyle/>
        <a:p>
          <a:endParaRPr lang="en-US"/>
        </a:p>
      </dgm:t>
    </dgm:pt>
    <dgm:pt modelId="{A6D202DB-D5CC-46A6-8D6E-1764ECE2C98F}">
      <dgm:prSet custT="1"/>
      <dgm:spPr/>
      <dgm:t>
        <a:bodyPr/>
        <a:lstStyle/>
        <a:p>
          <a:r>
            <a:rPr lang="en-US" sz="2400"/>
            <a:t>Semantic Search</a:t>
          </a:r>
        </a:p>
      </dgm:t>
    </dgm:pt>
    <dgm:pt modelId="{025B3165-A804-420D-9303-F0A0EC6F3D71}" type="parTrans" cxnId="{7B95F3BF-CA53-4C8F-A1E6-AE2D180E1E2C}">
      <dgm:prSet/>
      <dgm:spPr/>
      <dgm:t>
        <a:bodyPr/>
        <a:lstStyle/>
        <a:p>
          <a:endParaRPr lang="en-US"/>
        </a:p>
      </dgm:t>
    </dgm:pt>
    <dgm:pt modelId="{9AF6737F-9D84-4FF1-9BD5-663F65B84A5C}" type="sibTrans" cxnId="{7B95F3BF-CA53-4C8F-A1E6-AE2D180E1E2C}">
      <dgm:prSet/>
      <dgm:spPr/>
      <dgm:t>
        <a:bodyPr/>
        <a:lstStyle/>
        <a:p>
          <a:endParaRPr lang="en-US"/>
        </a:p>
      </dgm:t>
    </dgm:pt>
    <dgm:pt modelId="{2F2F7E3C-FDCB-4630-809B-E4BF0A43CC65}">
      <dgm:prSet custT="1"/>
      <dgm:spPr/>
      <dgm:t>
        <a:bodyPr/>
        <a:lstStyle/>
        <a:p>
          <a:r>
            <a:rPr lang="en-US" sz="2400"/>
            <a:t>Robust Query Syntax</a:t>
          </a:r>
        </a:p>
      </dgm:t>
    </dgm:pt>
    <dgm:pt modelId="{C4A2E806-B6C2-431B-AE86-DFF3C7E6205D}" type="parTrans" cxnId="{6C942CEF-7CE8-4A12-BD47-30EC71CAEA7C}">
      <dgm:prSet/>
      <dgm:spPr/>
      <dgm:t>
        <a:bodyPr/>
        <a:lstStyle/>
        <a:p>
          <a:endParaRPr lang="en-US"/>
        </a:p>
      </dgm:t>
    </dgm:pt>
    <dgm:pt modelId="{676B5384-BD25-4CA6-8178-1BCC0D196E6D}" type="sibTrans" cxnId="{6C942CEF-7CE8-4A12-BD47-30EC71CAEA7C}">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039A670A-6710-4027-9FDF-4CCBFC209BFB}" type="presOf" srcId="{EC902CFF-8554-443D-ADAB-FE39D5B5F560}" destId="{A7501C3A-A857-4FF3-AF87-5EA1D32D2C24}" srcOrd="0" destOrd="1" presId="urn:microsoft.com/office/officeart/2005/8/layout/vList2"/>
    <dgm:cxn modelId="{E2650C3C-D8A5-45E6-8D33-95B2DC9A0128}" srcId="{091F75C4-168F-4E14-AF67-3344816FD8CF}" destId="{EC902CFF-8554-443D-ADAB-FE39D5B5F560}" srcOrd="1" destOrd="0" parTransId="{7F3AB18C-026C-473B-A92F-B328E99360D3}" sibTransId="{E5767E20-6549-4E16-A5C5-3325221180E8}"/>
    <dgm:cxn modelId="{D3440E5C-AE6C-406B-83C7-7DD0777C0FE2}" type="presOf" srcId="{2F2F7E3C-FDCB-4630-809B-E4BF0A43CC65}" destId="{A7501C3A-A857-4FF3-AF87-5EA1D32D2C24}" srcOrd="0" destOrd="3"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612D589E-6357-4397-93B2-B8DBEF473402}" type="presOf" srcId="{A6D202DB-D5CC-46A6-8D6E-1764ECE2C98F}" destId="{A7501C3A-A857-4FF3-AF87-5EA1D32D2C24}" srcOrd="0" destOrd="2" presId="urn:microsoft.com/office/officeart/2005/8/layout/vList2"/>
    <dgm:cxn modelId="{7B95F3BF-CA53-4C8F-A1E6-AE2D180E1E2C}" srcId="{091F75C4-168F-4E14-AF67-3344816FD8CF}" destId="{A6D202DB-D5CC-46A6-8D6E-1764ECE2C98F}" srcOrd="2" destOrd="0" parTransId="{025B3165-A804-420D-9303-F0A0EC6F3D71}" sibTransId="{9AF6737F-9D84-4FF1-9BD5-663F65B84A5C}"/>
    <dgm:cxn modelId="{6C942CEF-7CE8-4A12-BD47-30EC71CAEA7C}" srcId="{091F75C4-168F-4E14-AF67-3344816FD8CF}" destId="{2F2F7E3C-FDCB-4630-809B-E4BF0A43CC65}" srcOrd="3" destOrd="0" parTransId="{C4A2E806-B6C2-431B-AE86-DFF3C7E6205D}" sibTransId="{676B5384-BD25-4CA6-8178-1BCC0D196E6D}"/>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Stages of Indexing</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Document Cracking</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4384914C-7871-4F79-90F4-A1B8F90EABA0}">
      <dgm:prSet custT="1"/>
      <dgm:spPr/>
      <dgm:t>
        <a:bodyPr/>
        <a:lstStyle/>
        <a:p>
          <a:r>
            <a:rPr lang="en-US" sz="2400"/>
            <a:t>Field Mappings</a:t>
          </a:r>
        </a:p>
      </dgm:t>
    </dgm:pt>
    <dgm:pt modelId="{7D176D19-9B53-4126-BE60-5AD4A1B3A489}" type="parTrans" cxnId="{767523F1-F49F-4676-8D8D-892E90EB4566}">
      <dgm:prSet/>
      <dgm:spPr/>
      <dgm:t>
        <a:bodyPr/>
        <a:lstStyle/>
        <a:p>
          <a:endParaRPr lang="en-US"/>
        </a:p>
      </dgm:t>
    </dgm:pt>
    <dgm:pt modelId="{62257535-443A-44F2-839D-1416A2BFA38B}" type="sibTrans" cxnId="{767523F1-F49F-4676-8D8D-892E90EB4566}">
      <dgm:prSet/>
      <dgm:spPr/>
      <dgm:t>
        <a:bodyPr/>
        <a:lstStyle/>
        <a:p>
          <a:endParaRPr lang="en-US"/>
        </a:p>
      </dgm:t>
    </dgm:pt>
    <dgm:pt modelId="{4727B4A9-6B64-44F0-A1D7-833D74DE632A}">
      <dgm:prSet custT="1"/>
      <dgm:spPr/>
      <dgm:t>
        <a:bodyPr/>
        <a:lstStyle/>
        <a:p>
          <a:r>
            <a:rPr lang="en-US" sz="2400"/>
            <a:t>Skillset Execution</a:t>
          </a:r>
        </a:p>
      </dgm:t>
    </dgm:pt>
    <dgm:pt modelId="{BC473860-9046-425E-95C6-B07B367D8E02}" type="parTrans" cxnId="{F385F5E7-CB12-4775-930D-A48E2AAEF9AF}">
      <dgm:prSet/>
      <dgm:spPr/>
      <dgm:t>
        <a:bodyPr/>
        <a:lstStyle/>
        <a:p>
          <a:endParaRPr lang="en-US"/>
        </a:p>
      </dgm:t>
    </dgm:pt>
    <dgm:pt modelId="{91808348-0EF7-4026-AA7C-E019DD7B3AD0}" type="sibTrans" cxnId="{F385F5E7-CB12-4775-930D-A48E2AAEF9AF}">
      <dgm:prSet/>
      <dgm:spPr/>
      <dgm:t>
        <a:bodyPr/>
        <a:lstStyle/>
        <a:p>
          <a:endParaRPr lang="en-US"/>
        </a:p>
      </dgm:t>
    </dgm:pt>
    <dgm:pt modelId="{B751DEDA-012C-4DEB-AC81-399C674FF6D9}">
      <dgm:prSet custT="1"/>
      <dgm:spPr/>
      <dgm:t>
        <a:bodyPr/>
        <a:lstStyle/>
        <a:p>
          <a:r>
            <a:rPr lang="en-US" sz="2400"/>
            <a:t>Output Field Mapping</a:t>
          </a:r>
        </a:p>
      </dgm:t>
    </dgm:pt>
    <dgm:pt modelId="{1B141638-EB51-44EB-97C5-1877F5EA552C}" type="parTrans" cxnId="{A56DE099-256D-4570-A02D-C88B624D0372}">
      <dgm:prSet/>
      <dgm:spPr/>
      <dgm:t>
        <a:bodyPr/>
        <a:lstStyle/>
        <a:p>
          <a:endParaRPr lang="en-US"/>
        </a:p>
      </dgm:t>
    </dgm:pt>
    <dgm:pt modelId="{EC36D234-6BA8-46B9-823E-D77BC1BCBF2A}" type="sibTrans" cxnId="{A56DE099-256D-4570-A02D-C88B624D0372}">
      <dgm:prSet/>
      <dgm:spPr/>
      <dgm:t>
        <a:bodyPr/>
        <a:lstStyle/>
        <a:p>
          <a:endParaRPr lang="en-US"/>
        </a:p>
      </dgm:t>
    </dgm:pt>
    <dgm:pt modelId="{5A5A6A83-0582-49D1-BD82-D33DA299BEC8}">
      <dgm:prSet custT="1"/>
      <dgm:spPr/>
      <dgm:t>
        <a:bodyPr/>
        <a:lstStyle/>
        <a:p>
          <a:r>
            <a:rPr lang="en-US" sz="2400"/>
            <a:t>Push Into Index</a:t>
          </a:r>
        </a:p>
      </dgm:t>
    </dgm:pt>
    <dgm:pt modelId="{B54A1134-2FF4-4E64-AB50-71BEE893E9E3}" type="parTrans" cxnId="{39469B73-5BBF-42EF-B9E5-8DEEC882664C}">
      <dgm:prSet/>
      <dgm:spPr/>
      <dgm:t>
        <a:bodyPr/>
        <a:lstStyle/>
        <a:p>
          <a:endParaRPr lang="en-US"/>
        </a:p>
      </dgm:t>
    </dgm:pt>
    <dgm:pt modelId="{8E5ACD82-A1EF-4903-A775-A5E03CDF0E7E}" type="sibTrans" cxnId="{39469B73-5BBF-42EF-B9E5-8DEEC882664C}">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DA865A08-CCB4-4996-8D11-2DF6828B5A88}" type="presOf" srcId="{4384914C-7871-4F79-90F4-A1B8F90EABA0}" destId="{A7501C3A-A857-4FF3-AF87-5EA1D32D2C24}" srcOrd="0" destOrd="1" presId="urn:microsoft.com/office/officeart/2005/8/layout/vList2"/>
    <dgm:cxn modelId="{39469B73-5BBF-42EF-B9E5-8DEEC882664C}" srcId="{091F75C4-168F-4E14-AF67-3344816FD8CF}" destId="{5A5A6A83-0582-49D1-BD82-D33DA299BEC8}" srcOrd="4" destOrd="0" parTransId="{B54A1134-2FF4-4E64-AB50-71BEE893E9E3}" sibTransId="{8E5ACD82-A1EF-4903-A775-A5E03CDF0E7E}"/>
    <dgm:cxn modelId="{7E509C5A-647B-40F2-B5A8-3B54306C2B7E}" type="presOf" srcId="{4727B4A9-6B64-44F0-A1D7-833D74DE632A}" destId="{A7501C3A-A857-4FF3-AF87-5EA1D32D2C24}" srcOrd="0" destOrd="2"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A56DE099-256D-4570-A02D-C88B624D0372}" srcId="{091F75C4-168F-4E14-AF67-3344816FD8CF}" destId="{B751DEDA-012C-4DEB-AC81-399C674FF6D9}" srcOrd="3" destOrd="0" parTransId="{1B141638-EB51-44EB-97C5-1877F5EA552C}" sibTransId="{EC36D234-6BA8-46B9-823E-D77BC1BCBF2A}"/>
    <dgm:cxn modelId="{C1A4519E-CFAA-402E-8C2F-BECEF79293C5}" type="presOf" srcId="{5A5A6A83-0582-49D1-BD82-D33DA299BEC8}" destId="{A7501C3A-A857-4FF3-AF87-5EA1D32D2C24}" srcOrd="0" destOrd="4" presId="urn:microsoft.com/office/officeart/2005/8/layout/vList2"/>
    <dgm:cxn modelId="{20CFD0BC-D32A-4B87-AE48-8C8A1F9B3917}" type="presOf" srcId="{B751DEDA-012C-4DEB-AC81-399C674FF6D9}" destId="{A7501C3A-A857-4FF3-AF87-5EA1D32D2C24}" srcOrd="0" destOrd="3" presId="urn:microsoft.com/office/officeart/2005/8/layout/vList2"/>
    <dgm:cxn modelId="{F385F5E7-CB12-4775-930D-A48E2AAEF9AF}" srcId="{091F75C4-168F-4E14-AF67-3344816FD8CF}" destId="{4727B4A9-6B64-44F0-A1D7-833D74DE632A}" srcOrd="2" destOrd="0" parTransId="{BC473860-9046-425E-95C6-B07B367D8E02}" sibTransId="{91808348-0EF7-4026-AA7C-E019DD7B3AD0}"/>
    <dgm:cxn modelId="{767523F1-F49F-4676-8D8D-892E90EB4566}" srcId="{091F75C4-168F-4E14-AF67-3344816FD8CF}" destId="{4384914C-7871-4F79-90F4-A1B8F90EABA0}" srcOrd="1" destOrd="0" parTransId="{7D176D19-9B53-4126-BE60-5AD4A1B3A489}" sibTransId="{62257535-443A-44F2-839D-1416A2BFA38B}"/>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5ABF7F3-8C2A-4EBA-A567-7DCDB91F978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77196CC-A7DC-4966-A47F-2581A89E8FB5}">
      <dgm:prSet custT="1"/>
      <dgm:spPr>
        <a:solidFill>
          <a:schemeClr val="accent1">
            <a:lumMod val="50000"/>
          </a:schemeClr>
        </a:solidFill>
      </dgm:spPr>
      <dgm:t>
        <a:bodyPr/>
        <a:lstStyle/>
        <a:p>
          <a:r>
            <a:rPr lang="en-US" sz="3600"/>
            <a:t>Index</a:t>
          </a:r>
        </a:p>
      </dgm:t>
    </dgm:pt>
    <dgm:pt modelId="{EFECB840-0B8D-4535-8610-55E763D8499B}" type="parTrans" cxnId="{5895B9F4-B10C-4C23-86A9-DF8B09FBBD8C}">
      <dgm:prSet/>
      <dgm:spPr/>
      <dgm:t>
        <a:bodyPr/>
        <a:lstStyle/>
        <a:p>
          <a:endParaRPr lang="en-US"/>
        </a:p>
      </dgm:t>
    </dgm:pt>
    <dgm:pt modelId="{04066F83-6C54-496E-ADCD-07B92D5821E6}" type="sibTrans" cxnId="{5895B9F4-B10C-4C23-86A9-DF8B09FBBD8C}">
      <dgm:prSet/>
      <dgm:spPr/>
      <dgm:t>
        <a:bodyPr/>
        <a:lstStyle/>
        <a:p>
          <a:endParaRPr lang="en-US"/>
        </a:p>
      </dgm:t>
    </dgm:pt>
    <dgm:pt modelId="{219DD1B9-0E5C-4157-8B91-CB6CB350A89B}">
      <dgm:prSet custT="1"/>
      <dgm:spPr/>
      <dgm:t>
        <a:bodyPr/>
        <a:lstStyle/>
        <a:p>
          <a:r>
            <a:rPr lang="en-US" sz="1800"/>
            <a:t>Your searchable content available to the search engine</a:t>
          </a:r>
        </a:p>
      </dgm:t>
    </dgm:pt>
    <dgm:pt modelId="{0435666A-51ED-4828-BB2A-798B2FBF84D5}" type="parTrans" cxnId="{66C06CCC-FAA6-4ADD-8250-69B627954E7A}">
      <dgm:prSet/>
      <dgm:spPr/>
      <dgm:t>
        <a:bodyPr/>
        <a:lstStyle/>
        <a:p>
          <a:endParaRPr lang="en-US"/>
        </a:p>
      </dgm:t>
    </dgm:pt>
    <dgm:pt modelId="{2EC25434-226E-4BBD-BD9F-70DD68E36A65}" type="sibTrans" cxnId="{66C06CCC-FAA6-4ADD-8250-69B627954E7A}">
      <dgm:prSet/>
      <dgm:spPr/>
      <dgm:t>
        <a:bodyPr/>
        <a:lstStyle/>
        <a:p>
          <a:endParaRPr lang="en-US"/>
        </a:p>
      </dgm:t>
    </dgm:pt>
    <dgm:pt modelId="{C8D0937D-447E-4795-A66A-B75BA236BB09}">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Indexer</a:t>
          </a:r>
        </a:p>
      </dgm:t>
    </dgm:pt>
    <dgm:pt modelId="{C30549E7-294B-404A-A793-0EDDC8F5FAFD}" type="parTrans" cxnId="{257DC3DF-C07E-457C-9430-23657B194E20}">
      <dgm:prSet/>
      <dgm:spPr/>
      <dgm:t>
        <a:bodyPr/>
        <a:lstStyle/>
        <a:p>
          <a:endParaRPr lang="en-US"/>
        </a:p>
      </dgm:t>
    </dgm:pt>
    <dgm:pt modelId="{56090214-0A99-4516-8F85-013B8D98533E}" type="sibTrans" cxnId="{257DC3DF-C07E-457C-9430-23657B194E20}">
      <dgm:prSet/>
      <dgm:spPr/>
      <dgm:t>
        <a:bodyPr/>
        <a:lstStyle/>
        <a:p>
          <a:endParaRPr lang="en-US"/>
        </a:p>
      </dgm:t>
    </dgm:pt>
    <dgm:pt modelId="{52AB7E19-22D8-4D86-BA61-C5A25EA6794A}">
      <dgm:prSet custT="1"/>
      <dgm:spPr/>
      <dgm:t>
        <a:bodyPr/>
        <a:lstStyle/>
        <a:p>
          <a:r>
            <a:rPr lang="en-US" sz="1800" b="0">
              <a:latin typeface="+mn-lt"/>
            </a:rPr>
            <a:t>Automate data import from supported data sources</a:t>
          </a:r>
        </a:p>
      </dgm:t>
    </dgm:pt>
    <dgm:pt modelId="{B57C0261-CE7C-4C9E-A57B-BB3854AB98FF}" type="parTrans" cxnId="{CD25889E-0E33-4CB2-B105-5ABDEA0DFD2A}">
      <dgm:prSet/>
      <dgm:spPr/>
      <dgm:t>
        <a:bodyPr/>
        <a:lstStyle/>
        <a:p>
          <a:endParaRPr lang="en-US"/>
        </a:p>
      </dgm:t>
    </dgm:pt>
    <dgm:pt modelId="{8F2A5A12-0986-4B87-AEF4-41992ABD6C98}" type="sibTrans" cxnId="{CD25889E-0E33-4CB2-B105-5ABDEA0DFD2A}">
      <dgm:prSet/>
      <dgm:spPr/>
      <dgm:t>
        <a:bodyPr/>
        <a:lstStyle/>
        <a:p>
          <a:endParaRPr lang="en-US"/>
        </a:p>
      </dgm:t>
    </dgm:pt>
    <dgm:pt modelId="{D8942A8E-8C66-47A6-BC7D-442BD7156963}">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Knowledge Store</a:t>
          </a:r>
        </a:p>
      </dgm:t>
    </dgm:pt>
    <dgm:pt modelId="{33381AFB-ED57-4EB1-850A-2E6B08C60665}" type="parTrans" cxnId="{4879767A-0123-4497-8FF1-D038C59A5A30}">
      <dgm:prSet/>
      <dgm:spPr/>
      <dgm:t>
        <a:bodyPr/>
        <a:lstStyle/>
        <a:p>
          <a:endParaRPr lang="en-US"/>
        </a:p>
      </dgm:t>
    </dgm:pt>
    <dgm:pt modelId="{EACA7183-47CC-4F10-BEF1-0B0A7532C8DE}" type="sibTrans" cxnId="{4879767A-0123-4497-8FF1-D038C59A5A30}">
      <dgm:prSet/>
      <dgm:spPr/>
      <dgm:t>
        <a:bodyPr/>
        <a:lstStyle/>
        <a:p>
          <a:endParaRPr lang="en-US"/>
        </a:p>
      </dgm:t>
    </dgm:pt>
    <dgm:pt modelId="{94E108FD-36A7-42E7-86F4-7DD3915A8184}">
      <dgm:prSet custT="1"/>
      <dgm:spPr>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gm:spPr>
      <dgm:t>
        <a:bodyPr spcFirstLastPara="0" vert="horz" wrap="square" lIns="91440" tIns="45720" rIns="91440" bIns="45720" numCol="1" spcCol="1270" anchor="ctr" anchorCtr="0"/>
        <a:lstStyle/>
        <a:p>
          <a:pPr marL="228600" lvl="1" indent="-228600" algn="l" defTabSz="106680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A data sink from the enrichment pipeline</a:t>
          </a:r>
          <a:endParaRPr lang="en-US" sz="2800" kern="1200">
            <a:solidFill>
              <a:srgbClr val="000000">
                <a:hueOff val="0"/>
                <a:satOff val="0"/>
                <a:lumOff val="0"/>
                <a:alphaOff val="0"/>
              </a:srgbClr>
            </a:solidFill>
            <a:latin typeface="+mn-lt"/>
            <a:ea typeface="+mn-ea"/>
            <a:cs typeface="+mn-cs"/>
          </a:endParaRPr>
        </a:p>
      </dgm:t>
    </dgm:pt>
    <dgm:pt modelId="{F776CACB-63B3-4324-8B79-3CB82A358173}" type="parTrans" cxnId="{9DB1991D-6986-4533-BBB4-2E7F11A31A7A}">
      <dgm:prSet/>
      <dgm:spPr/>
      <dgm:t>
        <a:bodyPr/>
        <a:lstStyle/>
        <a:p>
          <a:endParaRPr lang="en-US"/>
        </a:p>
      </dgm:t>
    </dgm:pt>
    <dgm:pt modelId="{1FBCE9B2-A7D3-4E5D-A432-00A53C2A8C24}" type="sibTrans" cxnId="{9DB1991D-6986-4533-BBB4-2E7F11A31A7A}">
      <dgm:prSet/>
      <dgm:spPr/>
      <dgm:t>
        <a:bodyPr/>
        <a:lstStyle/>
        <a:p>
          <a:endParaRPr lang="en-US"/>
        </a:p>
      </dgm:t>
    </dgm:pt>
    <dgm:pt modelId="{6F2FE3FC-2F61-4C8D-BAE3-E79C1CD3A36F}">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Skillsets</a:t>
          </a:r>
        </a:p>
      </dgm:t>
    </dgm:pt>
    <dgm:pt modelId="{BA02589B-429B-428D-9017-215908BCEF52}" type="parTrans" cxnId="{D8376174-E8B0-4CDE-BA09-A36561595850}">
      <dgm:prSet/>
      <dgm:spPr/>
      <dgm:t>
        <a:bodyPr/>
        <a:lstStyle/>
        <a:p>
          <a:endParaRPr lang="en-US"/>
        </a:p>
      </dgm:t>
    </dgm:pt>
    <dgm:pt modelId="{3519BD20-EEB1-4757-A26B-82E5EDECF146}" type="sibTrans" cxnId="{D8376174-E8B0-4CDE-BA09-A36561595850}">
      <dgm:prSet/>
      <dgm:spPr/>
      <dgm:t>
        <a:bodyPr/>
        <a:lstStyle/>
        <a:p>
          <a:endParaRPr lang="en-US"/>
        </a:p>
      </dgm:t>
    </dgm:pt>
    <dgm:pt modelId="{30EEFD2B-8F9B-412B-AF2B-A340BAD6B95F}">
      <dgm:prSet custT="1"/>
      <dgm:spPr/>
      <dgm:t>
        <a:bodyPr/>
        <a:lstStyle/>
        <a:p>
          <a:r>
            <a:rPr lang="en-US" sz="1800">
              <a:latin typeface="+mn-lt"/>
            </a:rPr>
            <a:t>A set of AI Enrichments</a:t>
          </a:r>
        </a:p>
      </dgm:t>
    </dgm:pt>
    <dgm:pt modelId="{7BE01445-0166-4270-AD82-ED8384BB6BFF}" type="parTrans" cxnId="{EBDD8203-1C74-48D9-BCA8-0DF207356267}">
      <dgm:prSet/>
      <dgm:spPr/>
      <dgm:t>
        <a:bodyPr/>
        <a:lstStyle/>
        <a:p>
          <a:endParaRPr lang="en-US"/>
        </a:p>
      </dgm:t>
    </dgm:pt>
    <dgm:pt modelId="{EDB6973A-A079-4A1B-9BF1-DBF4A11E18AD}" type="sibTrans" cxnId="{EBDD8203-1C74-48D9-BCA8-0DF207356267}">
      <dgm:prSet/>
      <dgm:spPr/>
      <dgm:t>
        <a:bodyPr/>
        <a:lstStyle/>
        <a:p>
          <a:endParaRPr lang="en-US"/>
        </a:p>
      </dgm:t>
    </dgm:pt>
    <dgm:pt modelId="{081C471B-03E0-402D-B996-AECF051012EA}">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Data Source</a:t>
          </a:r>
        </a:p>
      </dgm:t>
    </dgm:pt>
    <dgm:pt modelId="{F89F348D-7F8F-4081-9CE8-21DAD53B48C2}" type="parTrans" cxnId="{BB4F2266-863F-4C00-9631-F49D914AE800}">
      <dgm:prSet/>
      <dgm:spPr/>
      <dgm:t>
        <a:bodyPr/>
        <a:lstStyle/>
        <a:p>
          <a:endParaRPr lang="en-US"/>
        </a:p>
      </dgm:t>
    </dgm:pt>
    <dgm:pt modelId="{957480CA-8B60-4DCF-BE7B-2E9EA7C2F99B}" type="sibTrans" cxnId="{BB4F2266-863F-4C00-9631-F49D914AE800}">
      <dgm:prSet/>
      <dgm:spPr/>
      <dgm:t>
        <a:bodyPr/>
        <a:lstStyle/>
        <a:p>
          <a:endParaRPr lang="en-US"/>
        </a:p>
      </dgm:t>
    </dgm:pt>
    <dgm:pt modelId="{615FFE79-47EC-4DD2-9BD6-77BE469E14A0}">
      <dgm:prSet custT="1"/>
      <dgm:spPr>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gm:spPr>
      <dgm:t>
        <a:bodyPr spcFirstLastPara="0" vert="horz" wrap="square" lIns="87630" tIns="43815" rIns="87630" bIns="43815" numCol="1" spcCol="1270" anchor="ctr" anchorCtr="0"/>
        <a:lstStyle/>
        <a:p>
          <a:pPr marL="228600" lvl="1" indent="-228600" algn="l" defTabSz="102235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Sources for your Index</a:t>
          </a:r>
        </a:p>
      </dgm:t>
    </dgm:pt>
    <dgm:pt modelId="{0AE57AA8-0155-4538-B4BD-D673D391A596}" type="parTrans" cxnId="{529B36D5-B218-43E3-92F9-A1D79CFFB6C3}">
      <dgm:prSet/>
      <dgm:spPr/>
      <dgm:t>
        <a:bodyPr/>
        <a:lstStyle/>
        <a:p>
          <a:endParaRPr lang="en-US"/>
        </a:p>
      </dgm:t>
    </dgm:pt>
    <dgm:pt modelId="{0D0F6214-059D-4816-AD17-4D9D88287C76}" type="sibTrans" cxnId="{529B36D5-B218-43E3-92F9-A1D79CFFB6C3}">
      <dgm:prSet/>
      <dgm:spPr/>
      <dgm:t>
        <a:bodyPr/>
        <a:lstStyle/>
        <a:p>
          <a:endParaRPr lang="en-US"/>
        </a:p>
      </dgm:t>
    </dgm:pt>
    <dgm:pt modelId="{0C8AE26B-E85E-4EE0-87EF-F0149A61F082}">
      <dgm:prSet custT="1"/>
      <dgm:spPr/>
      <dgm:t>
        <a:bodyPr/>
        <a:lstStyle/>
        <a:p>
          <a:r>
            <a:rPr lang="en-US" sz="1800"/>
            <a:t>A table in general terms.</a:t>
          </a:r>
        </a:p>
      </dgm:t>
    </dgm:pt>
    <dgm:pt modelId="{4D8F55B9-65B3-4FC5-8BD2-B94E80AC7CB4}" type="parTrans" cxnId="{C634D734-4418-47A2-B906-317B9326C8AE}">
      <dgm:prSet/>
      <dgm:spPr/>
    </dgm:pt>
    <dgm:pt modelId="{68F741DB-0A4F-492C-8308-60D8457A1390}" type="sibTrans" cxnId="{C634D734-4418-47A2-B906-317B9326C8AE}">
      <dgm:prSet/>
      <dgm:spPr/>
    </dgm:pt>
    <dgm:pt modelId="{F34DEA81-003E-4DB6-B47B-A2F1871DE9D7}" type="pres">
      <dgm:prSet presAssocID="{D5ABF7F3-8C2A-4EBA-A567-7DCDB91F978D}" presName="Name0" presStyleCnt="0">
        <dgm:presLayoutVars>
          <dgm:dir/>
          <dgm:animLvl val="lvl"/>
          <dgm:resizeHandles val="exact"/>
        </dgm:presLayoutVars>
      </dgm:prSet>
      <dgm:spPr/>
    </dgm:pt>
    <dgm:pt modelId="{5A69BA46-CCF7-48EF-BA03-59CD047F3E2E}" type="pres">
      <dgm:prSet presAssocID="{377196CC-A7DC-4966-A47F-2581A89E8FB5}" presName="linNode" presStyleCnt="0"/>
      <dgm:spPr/>
    </dgm:pt>
    <dgm:pt modelId="{75E4AA88-CE81-40A7-B719-33EDAE0949F9}" type="pres">
      <dgm:prSet presAssocID="{377196CC-A7DC-4966-A47F-2581A89E8FB5}" presName="parentText" presStyleLbl="node1" presStyleIdx="0" presStyleCnt="5">
        <dgm:presLayoutVars>
          <dgm:chMax val="1"/>
          <dgm:bulletEnabled val="1"/>
        </dgm:presLayoutVars>
      </dgm:prSet>
      <dgm:spPr/>
    </dgm:pt>
    <dgm:pt modelId="{A2906349-5D6B-415C-9FD7-C7C4E5DCEA43}" type="pres">
      <dgm:prSet presAssocID="{377196CC-A7DC-4966-A47F-2581A89E8FB5}" presName="descendantText" presStyleLbl="alignAccFollowNode1" presStyleIdx="0" presStyleCnt="5">
        <dgm:presLayoutVars>
          <dgm:bulletEnabled val="1"/>
        </dgm:presLayoutVars>
      </dgm:prSet>
      <dgm:spPr/>
    </dgm:pt>
    <dgm:pt modelId="{78D551C9-8EE8-494F-ADAD-24DEA79B9DFD}" type="pres">
      <dgm:prSet presAssocID="{04066F83-6C54-496E-ADCD-07B92D5821E6}" presName="sp" presStyleCnt="0"/>
      <dgm:spPr/>
    </dgm:pt>
    <dgm:pt modelId="{3DF92CEB-2223-4E4F-8985-20BD3191720B}" type="pres">
      <dgm:prSet presAssocID="{081C471B-03E0-402D-B996-AECF051012EA}" presName="linNode" presStyleCnt="0"/>
      <dgm:spPr/>
    </dgm:pt>
    <dgm:pt modelId="{ACEE23F2-490C-48C0-A17D-560789447970}" type="pres">
      <dgm:prSet presAssocID="{081C471B-03E0-402D-B996-AECF051012EA}" presName="parentText" presStyleLbl="node1" presStyleIdx="1" presStyleCnt="5">
        <dgm:presLayoutVars>
          <dgm:chMax val="1"/>
          <dgm:bulletEnabled val="1"/>
        </dgm:presLayoutVars>
      </dgm:prSet>
      <dgm:spPr/>
    </dgm:pt>
    <dgm:pt modelId="{CD0A9D66-1404-4FD6-ADAD-0D83D3316C22}" type="pres">
      <dgm:prSet presAssocID="{081C471B-03E0-402D-B996-AECF051012EA}" presName="descendantText" presStyleLbl="alignAccFollowNode1" presStyleIdx="1" presStyleCnt="5">
        <dgm:presLayoutVars>
          <dgm:bulletEnabled val="1"/>
        </dgm:presLayoutVars>
      </dgm:prSet>
      <dgm:spPr/>
    </dgm:pt>
    <dgm:pt modelId="{E7E9BA9C-59DB-4B61-95B2-02308D9BE039}" type="pres">
      <dgm:prSet presAssocID="{957480CA-8B60-4DCF-BE7B-2E9EA7C2F99B}" presName="sp" presStyleCnt="0"/>
      <dgm:spPr/>
    </dgm:pt>
    <dgm:pt modelId="{A244C066-32C9-4D86-BDFE-708725DED3CA}" type="pres">
      <dgm:prSet presAssocID="{C8D0937D-447E-4795-A66A-B75BA236BB09}" presName="linNode" presStyleCnt="0"/>
      <dgm:spPr/>
    </dgm:pt>
    <dgm:pt modelId="{125D6C79-91B6-4365-B8CA-A63393204D0D}" type="pres">
      <dgm:prSet presAssocID="{C8D0937D-447E-4795-A66A-B75BA236BB09}" presName="parentText" presStyleLbl="node1" presStyleIdx="2" presStyleCnt="5">
        <dgm:presLayoutVars>
          <dgm:chMax val="1"/>
          <dgm:bulletEnabled val="1"/>
        </dgm:presLayoutVars>
      </dgm:prSet>
      <dgm:spPr>
        <a:xfrm>
          <a:off x="0" y="684506"/>
          <a:ext cx="3946424" cy="650493"/>
        </a:xfrm>
        <a:prstGeom prst="roundRect">
          <a:avLst/>
        </a:prstGeom>
      </dgm:spPr>
    </dgm:pt>
    <dgm:pt modelId="{9BAC1985-32B2-49E4-A950-16690DC7B60E}" type="pres">
      <dgm:prSet presAssocID="{C8D0937D-447E-4795-A66A-B75BA236BB09}" presName="descendantText" presStyleLbl="alignAccFollowNode1" presStyleIdx="2" presStyleCnt="5">
        <dgm:presLayoutVars>
          <dgm:bulletEnabled val="1"/>
        </dgm:presLayoutVars>
      </dgm:prSet>
      <dgm:spPr/>
    </dgm:pt>
    <dgm:pt modelId="{D998F081-81FB-4E9D-AD1C-E36E78A0F6B2}" type="pres">
      <dgm:prSet presAssocID="{56090214-0A99-4516-8F85-013B8D98533E}" presName="sp" presStyleCnt="0"/>
      <dgm:spPr/>
    </dgm:pt>
    <dgm:pt modelId="{C5485987-7ACA-46FD-9C00-536BA47AC96A}" type="pres">
      <dgm:prSet presAssocID="{D8942A8E-8C66-47A6-BC7D-442BD7156963}" presName="linNode" presStyleCnt="0"/>
      <dgm:spPr/>
    </dgm:pt>
    <dgm:pt modelId="{52B1B6F2-F864-4A99-AF55-62DFB65ED4A8}" type="pres">
      <dgm:prSet presAssocID="{D8942A8E-8C66-47A6-BC7D-442BD7156963}" presName="parentText" presStyleLbl="node1" presStyleIdx="3" presStyleCnt="5">
        <dgm:presLayoutVars>
          <dgm:chMax val="1"/>
          <dgm:bulletEnabled val="1"/>
        </dgm:presLayoutVars>
      </dgm:prSet>
      <dgm:spPr>
        <a:xfrm>
          <a:off x="0" y="2050542"/>
          <a:ext cx="3946424" cy="650493"/>
        </a:xfrm>
        <a:prstGeom prst="roundRect">
          <a:avLst/>
        </a:prstGeom>
      </dgm:spPr>
    </dgm:pt>
    <dgm:pt modelId="{60E4FD75-95D9-49F7-9251-7C4CCCF48FAC}" type="pres">
      <dgm:prSet presAssocID="{D8942A8E-8C66-47A6-BC7D-442BD7156963}" presName="descendantText" presStyleLbl="alignAccFollowNode1" presStyleIdx="3" presStyleCnt="5">
        <dgm:presLayoutVars>
          <dgm:bulletEnabled val="1"/>
        </dgm:presLayoutVars>
      </dgm:prSet>
      <dgm:spPr>
        <a:xfrm rot="5400000">
          <a:off x="7194159" y="-1132143"/>
          <a:ext cx="520394" cy="7015865"/>
        </a:xfrm>
        <a:prstGeom prst="round2SameRect">
          <a:avLst/>
        </a:prstGeom>
      </dgm:spPr>
    </dgm:pt>
    <dgm:pt modelId="{0E120946-7DF5-432B-A285-BB3332E2BF0F}" type="pres">
      <dgm:prSet presAssocID="{EACA7183-47CC-4F10-BEF1-0B0A7532C8DE}" presName="sp" presStyleCnt="0"/>
      <dgm:spPr/>
    </dgm:pt>
    <dgm:pt modelId="{DCDA87C6-EABE-480B-B911-AE3FEB61FDB7}" type="pres">
      <dgm:prSet presAssocID="{6F2FE3FC-2F61-4C8D-BAE3-E79C1CD3A36F}" presName="linNode" presStyleCnt="0"/>
      <dgm:spPr/>
    </dgm:pt>
    <dgm:pt modelId="{F8D4A04C-4F8D-4AA4-B2C8-CA0F032C35D1}" type="pres">
      <dgm:prSet presAssocID="{6F2FE3FC-2F61-4C8D-BAE3-E79C1CD3A36F}" presName="parentText" presStyleLbl="node1" presStyleIdx="4" presStyleCnt="5">
        <dgm:presLayoutVars>
          <dgm:chMax val="1"/>
          <dgm:bulletEnabled val="1"/>
        </dgm:presLayoutVars>
      </dgm:prSet>
      <dgm:spPr>
        <a:xfrm>
          <a:off x="0" y="2733560"/>
          <a:ext cx="3946424" cy="650493"/>
        </a:xfrm>
        <a:prstGeom prst="roundRect">
          <a:avLst/>
        </a:prstGeom>
      </dgm:spPr>
    </dgm:pt>
    <dgm:pt modelId="{227ACFEF-C11D-47DB-8404-1AFA661F9DE5}" type="pres">
      <dgm:prSet presAssocID="{6F2FE3FC-2F61-4C8D-BAE3-E79C1CD3A36F}" presName="descendantText" presStyleLbl="alignAccFollowNode1" presStyleIdx="4" presStyleCnt="5">
        <dgm:presLayoutVars>
          <dgm:bulletEnabled val="1"/>
        </dgm:presLayoutVars>
      </dgm:prSet>
      <dgm:spPr/>
    </dgm:pt>
  </dgm:ptLst>
  <dgm:cxnLst>
    <dgm:cxn modelId="{EBDD8203-1C74-48D9-BCA8-0DF207356267}" srcId="{6F2FE3FC-2F61-4C8D-BAE3-E79C1CD3A36F}" destId="{30EEFD2B-8F9B-412B-AF2B-A340BAD6B95F}" srcOrd="0" destOrd="0" parTransId="{7BE01445-0166-4270-AD82-ED8384BB6BFF}" sibTransId="{EDB6973A-A079-4A1B-9BF1-DBF4A11E18AD}"/>
    <dgm:cxn modelId="{82B2A206-F8C2-4835-9F75-8ACD2C952993}" type="presOf" srcId="{94E108FD-36A7-42E7-86F4-7DD3915A8184}" destId="{60E4FD75-95D9-49F7-9251-7C4CCCF48FAC}" srcOrd="0" destOrd="0" presId="urn:microsoft.com/office/officeart/2005/8/layout/vList5"/>
    <dgm:cxn modelId="{9DB1991D-6986-4533-BBB4-2E7F11A31A7A}" srcId="{D8942A8E-8C66-47A6-BC7D-442BD7156963}" destId="{94E108FD-36A7-42E7-86F4-7DD3915A8184}" srcOrd="0" destOrd="0" parTransId="{F776CACB-63B3-4324-8B79-3CB82A358173}" sibTransId="{1FBCE9B2-A7D3-4E5D-A432-00A53C2A8C24}"/>
    <dgm:cxn modelId="{B7D7AC30-1C41-4727-BC39-29B256B7DDF0}" type="presOf" srcId="{D8942A8E-8C66-47A6-BC7D-442BD7156963}" destId="{52B1B6F2-F864-4A99-AF55-62DFB65ED4A8}" srcOrd="0" destOrd="0" presId="urn:microsoft.com/office/officeart/2005/8/layout/vList5"/>
    <dgm:cxn modelId="{C634D734-4418-47A2-B906-317B9326C8AE}" srcId="{377196CC-A7DC-4966-A47F-2581A89E8FB5}" destId="{0C8AE26B-E85E-4EE0-87EF-F0149A61F082}" srcOrd="1" destOrd="0" parTransId="{4D8F55B9-65B3-4FC5-8BD2-B94E80AC7CB4}" sibTransId="{68F741DB-0A4F-492C-8308-60D8457A1390}"/>
    <dgm:cxn modelId="{E227C762-8B8C-43B0-835C-71B88A629012}" type="presOf" srcId="{081C471B-03E0-402D-B996-AECF051012EA}" destId="{ACEE23F2-490C-48C0-A17D-560789447970}" srcOrd="0" destOrd="0" presId="urn:microsoft.com/office/officeart/2005/8/layout/vList5"/>
    <dgm:cxn modelId="{89716265-88B9-4295-996F-0F262921E2EE}" type="presOf" srcId="{52AB7E19-22D8-4D86-BA61-C5A25EA6794A}" destId="{9BAC1985-32B2-49E4-A950-16690DC7B60E}" srcOrd="0" destOrd="0" presId="urn:microsoft.com/office/officeart/2005/8/layout/vList5"/>
    <dgm:cxn modelId="{BB4F2266-863F-4C00-9631-F49D914AE800}" srcId="{D5ABF7F3-8C2A-4EBA-A567-7DCDB91F978D}" destId="{081C471B-03E0-402D-B996-AECF051012EA}" srcOrd="1" destOrd="0" parTransId="{F89F348D-7F8F-4081-9CE8-21DAD53B48C2}" sibTransId="{957480CA-8B60-4DCF-BE7B-2E9EA7C2F99B}"/>
    <dgm:cxn modelId="{9CA67D4F-E797-4359-B02D-85D0FE0A6359}" type="presOf" srcId="{D5ABF7F3-8C2A-4EBA-A567-7DCDB91F978D}" destId="{F34DEA81-003E-4DB6-B47B-A2F1871DE9D7}" srcOrd="0" destOrd="0" presId="urn:microsoft.com/office/officeart/2005/8/layout/vList5"/>
    <dgm:cxn modelId="{D8376174-E8B0-4CDE-BA09-A36561595850}" srcId="{D5ABF7F3-8C2A-4EBA-A567-7DCDB91F978D}" destId="{6F2FE3FC-2F61-4C8D-BAE3-E79C1CD3A36F}" srcOrd="4" destOrd="0" parTransId="{BA02589B-429B-428D-9017-215908BCEF52}" sibTransId="{3519BD20-EEB1-4757-A26B-82E5EDECF146}"/>
    <dgm:cxn modelId="{98F5E678-F972-425E-BA53-889B1E6044C6}" type="presOf" srcId="{615FFE79-47EC-4DD2-9BD6-77BE469E14A0}" destId="{CD0A9D66-1404-4FD6-ADAD-0D83D3316C22}" srcOrd="0" destOrd="0" presId="urn:microsoft.com/office/officeart/2005/8/layout/vList5"/>
    <dgm:cxn modelId="{4879767A-0123-4497-8FF1-D038C59A5A30}" srcId="{D5ABF7F3-8C2A-4EBA-A567-7DCDB91F978D}" destId="{D8942A8E-8C66-47A6-BC7D-442BD7156963}" srcOrd="3" destOrd="0" parTransId="{33381AFB-ED57-4EB1-850A-2E6B08C60665}" sibTransId="{EACA7183-47CC-4F10-BEF1-0B0A7532C8DE}"/>
    <dgm:cxn modelId="{81A8AB5A-CE5D-4F78-91CB-60C269D48E0A}" type="presOf" srcId="{C8D0937D-447E-4795-A66A-B75BA236BB09}" destId="{125D6C79-91B6-4365-B8CA-A63393204D0D}" srcOrd="0" destOrd="0" presId="urn:microsoft.com/office/officeart/2005/8/layout/vList5"/>
    <dgm:cxn modelId="{0BEE207D-CE40-43B3-AA97-8F1FAC0B0124}" type="presOf" srcId="{6F2FE3FC-2F61-4C8D-BAE3-E79C1CD3A36F}" destId="{F8D4A04C-4F8D-4AA4-B2C8-CA0F032C35D1}" srcOrd="0" destOrd="0" presId="urn:microsoft.com/office/officeart/2005/8/layout/vList5"/>
    <dgm:cxn modelId="{8478FF91-7D56-4297-BD11-69004547A015}" type="presOf" srcId="{219DD1B9-0E5C-4157-8B91-CB6CB350A89B}" destId="{A2906349-5D6B-415C-9FD7-C7C4E5DCEA43}" srcOrd="0" destOrd="0" presId="urn:microsoft.com/office/officeart/2005/8/layout/vList5"/>
    <dgm:cxn modelId="{EFB5FD9B-ACDD-4F33-9FA3-D2034C04D9FB}" type="presOf" srcId="{0C8AE26B-E85E-4EE0-87EF-F0149A61F082}" destId="{A2906349-5D6B-415C-9FD7-C7C4E5DCEA43}" srcOrd="0" destOrd="1" presId="urn:microsoft.com/office/officeart/2005/8/layout/vList5"/>
    <dgm:cxn modelId="{CD25889E-0E33-4CB2-B105-5ABDEA0DFD2A}" srcId="{C8D0937D-447E-4795-A66A-B75BA236BB09}" destId="{52AB7E19-22D8-4D86-BA61-C5A25EA6794A}" srcOrd="0" destOrd="0" parTransId="{B57C0261-CE7C-4C9E-A57B-BB3854AB98FF}" sibTransId="{8F2A5A12-0986-4B87-AEF4-41992ABD6C98}"/>
    <dgm:cxn modelId="{AE6AC7AB-6233-47B2-9F71-36795D05F0A1}" type="presOf" srcId="{30EEFD2B-8F9B-412B-AF2B-A340BAD6B95F}" destId="{227ACFEF-C11D-47DB-8404-1AFA661F9DE5}" srcOrd="0" destOrd="0" presId="urn:microsoft.com/office/officeart/2005/8/layout/vList5"/>
    <dgm:cxn modelId="{66C06CCC-FAA6-4ADD-8250-69B627954E7A}" srcId="{377196CC-A7DC-4966-A47F-2581A89E8FB5}" destId="{219DD1B9-0E5C-4157-8B91-CB6CB350A89B}" srcOrd="0" destOrd="0" parTransId="{0435666A-51ED-4828-BB2A-798B2FBF84D5}" sibTransId="{2EC25434-226E-4BBD-BD9F-70DD68E36A65}"/>
    <dgm:cxn modelId="{529B36D5-B218-43E3-92F9-A1D79CFFB6C3}" srcId="{081C471B-03E0-402D-B996-AECF051012EA}" destId="{615FFE79-47EC-4DD2-9BD6-77BE469E14A0}" srcOrd="0" destOrd="0" parTransId="{0AE57AA8-0155-4538-B4BD-D673D391A596}" sibTransId="{0D0F6214-059D-4816-AD17-4D9D88287C76}"/>
    <dgm:cxn modelId="{257DC3DF-C07E-457C-9430-23657B194E20}" srcId="{D5ABF7F3-8C2A-4EBA-A567-7DCDB91F978D}" destId="{C8D0937D-447E-4795-A66A-B75BA236BB09}" srcOrd="2" destOrd="0" parTransId="{C30549E7-294B-404A-A793-0EDDC8F5FAFD}" sibTransId="{56090214-0A99-4516-8F85-013B8D98533E}"/>
    <dgm:cxn modelId="{3156E1E8-5252-4CD7-9D8C-8936AADE042C}" type="presOf" srcId="{377196CC-A7DC-4966-A47F-2581A89E8FB5}" destId="{75E4AA88-CE81-40A7-B719-33EDAE0949F9}" srcOrd="0" destOrd="0" presId="urn:microsoft.com/office/officeart/2005/8/layout/vList5"/>
    <dgm:cxn modelId="{5895B9F4-B10C-4C23-86A9-DF8B09FBBD8C}" srcId="{D5ABF7F3-8C2A-4EBA-A567-7DCDB91F978D}" destId="{377196CC-A7DC-4966-A47F-2581A89E8FB5}" srcOrd="0" destOrd="0" parTransId="{EFECB840-0B8D-4535-8610-55E763D8499B}" sibTransId="{04066F83-6C54-496E-ADCD-07B92D5821E6}"/>
    <dgm:cxn modelId="{44B309D3-4F30-46BB-9F43-D38D971259F9}" type="presParOf" srcId="{F34DEA81-003E-4DB6-B47B-A2F1871DE9D7}" destId="{5A69BA46-CCF7-48EF-BA03-59CD047F3E2E}" srcOrd="0" destOrd="0" presId="urn:microsoft.com/office/officeart/2005/8/layout/vList5"/>
    <dgm:cxn modelId="{2DB438F5-8EBF-47A6-A1FC-CF11D4883E2A}" type="presParOf" srcId="{5A69BA46-CCF7-48EF-BA03-59CD047F3E2E}" destId="{75E4AA88-CE81-40A7-B719-33EDAE0949F9}" srcOrd="0" destOrd="0" presId="urn:microsoft.com/office/officeart/2005/8/layout/vList5"/>
    <dgm:cxn modelId="{A2780186-BDF3-4A47-AD2A-137BE5A9CCD7}" type="presParOf" srcId="{5A69BA46-CCF7-48EF-BA03-59CD047F3E2E}" destId="{A2906349-5D6B-415C-9FD7-C7C4E5DCEA43}" srcOrd="1" destOrd="0" presId="urn:microsoft.com/office/officeart/2005/8/layout/vList5"/>
    <dgm:cxn modelId="{643738AF-766D-47D8-AD4E-6E49B9656D79}" type="presParOf" srcId="{F34DEA81-003E-4DB6-B47B-A2F1871DE9D7}" destId="{78D551C9-8EE8-494F-ADAD-24DEA79B9DFD}" srcOrd="1" destOrd="0" presId="urn:microsoft.com/office/officeart/2005/8/layout/vList5"/>
    <dgm:cxn modelId="{A56E0413-BA1E-4DDD-815A-40A60C99EEE8}" type="presParOf" srcId="{F34DEA81-003E-4DB6-B47B-A2F1871DE9D7}" destId="{3DF92CEB-2223-4E4F-8985-20BD3191720B}" srcOrd="2" destOrd="0" presId="urn:microsoft.com/office/officeart/2005/8/layout/vList5"/>
    <dgm:cxn modelId="{6BA5AA46-8473-4EB0-9F75-73843BC802D3}" type="presParOf" srcId="{3DF92CEB-2223-4E4F-8985-20BD3191720B}" destId="{ACEE23F2-490C-48C0-A17D-560789447970}" srcOrd="0" destOrd="0" presId="urn:microsoft.com/office/officeart/2005/8/layout/vList5"/>
    <dgm:cxn modelId="{A3C7E8BD-56E1-41DC-92F4-595ED6EAB3B6}" type="presParOf" srcId="{3DF92CEB-2223-4E4F-8985-20BD3191720B}" destId="{CD0A9D66-1404-4FD6-ADAD-0D83D3316C22}" srcOrd="1" destOrd="0" presId="urn:microsoft.com/office/officeart/2005/8/layout/vList5"/>
    <dgm:cxn modelId="{56976063-E5C9-4D7C-A985-F7F1B85707EE}" type="presParOf" srcId="{F34DEA81-003E-4DB6-B47B-A2F1871DE9D7}" destId="{E7E9BA9C-59DB-4B61-95B2-02308D9BE039}" srcOrd="3" destOrd="0" presId="urn:microsoft.com/office/officeart/2005/8/layout/vList5"/>
    <dgm:cxn modelId="{BB627020-E694-4DD4-987D-9A7697DCF1F6}" type="presParOf" srcId="{F34DEA81-003E-4DB6-B47B-A2F1871DE9D7}" destId="{A244C066-32C9-4D86-BDFE-708725DED3CA}" srcOrd="4" destOrd="0" presId="urn:microsoft.com/office/officeart/2005/8/layout/vList5"/>
    <dgm:cxn modelId="{89157ADE-6C70-4E33-8269-5A9A5466F539}" type="presParOf" srcId="{A244C066-32C9-4D86-BDFE-708725DED3CA}" destId="{125D6C79-91B6-4365-B8CA-A63393204D0D}" srcOrd="0" destOrd="0" presId="urn:microsoft.com/office/officeart/2005/8/layout/vList5"/>
    <dgm:cxn modelId="{7D6F0FC9-58BC-4B71-959F-16B03E1A6F3C}" type="presParOf" srcId="{A244C066-32C9-4D86-BDFE-708725DED3CA}" destId="{9BAC1985-32B2-49E4-A950-16690DC7B60E}" srcOrd="1" destOrd="0" presId="urn:microsoft.com/office/officeart/2005/8/layout/vList5"/>
    <dgm:cxn modelId="{52C58E55-87C4-43BF-BED3-1E59024A22E9}" type="presParOf" srcId="{F34DEA81-003E-4DB6-B47B-A2F1871DE9D7}" destId="{D998F081-81FB-4E9D-AD1C-E36E78A0F6B2}" srcOrd="5" destOrd="0" presId="urn:microsoft.com/office/officeart/2005/8/layout/vList5"/>
    <dgm:cxn modelId="{A433F33A-BC00-495F-89CC-28DB401E78BD}" type="presParOf" srcId="{F34DEA81-003E-4DB6-B47B-A2F1871DE9D7}" destId="{C5485987-7ACA-46FD-9C00-536BA47AC96A}" srcOrd="6" destOrd="0" presId="urn:microsoft.com/office/officeart/2005/8/layout/vList5"/>
    <dgm:cxn modelId="{3643EF64-3BDA-4C2E-A1BC-4F633BBE2222}" type="presParOf" srcId="{C5485987-7ACA-46FD-9C00-536BA47AC96A}" destId="{52B1B6F2-F864-4A99-AF55-62DFB65ED4A8}" srcOrd="0" destOrd="0" presId="urn:microsoft.com/office/officeart/2005/8/layout/vList5"/>
    <dgm:cxn modelId="{41FB3E03-2FFD-4EA8-A0AC-34A5C24873EE}" type="presParOf" srcId="{C5485987-7ACA-46FD-9C00-536BA47AC96A}" destId="{60E4FD75-95D9-49F7-9251-7C4CCCF48FAC}" srcOrd="1" destOrd="0" presId="urn:microsoft.com/office/officeart/2005/8/layout/vList5"/>
    <dgm:cxn modelId="{A80E732A-4F0C-4853-A8E2-6B1D6A79F9C9}" type="presParOf" srcId="{F34DEA81-003E-4DB6-B47B-A2F1871DE9D7}" destId="{0E120946-7DF5-432B-A285-BB3332E2BF0F}" srcOrd="7" destOrd="0" presId="urn:microsoft.com/office/officeart/2005/8/layout/vList5"/>
    <dgm:cxn modelId="{FC09D614-EDB9-4944-9A78-1202BDBBD785}" type="presParOf" srcId="{F34DEA81-003E-4DB6-B47B-A2F1871DE9D7}" destId="{DCDA87C6-EABE-480B-B911-AE3FEB61FDB7}" srcOrd="8" destOrd="0" presId="urn:microsoft.com/office/officeart/2005/8/layout/vList5"/>
    <dgm:cxn modelId="{15B9F188-1946-4B52-BAAC-B3048D486EFD}" type="presParOf" srcId="{DCDA87C6-EABE-480B-B911-AE3FEB61FDB7}" destId="{F8D4A04C-4F8D-4AA4-B2C8-CA0F032C35D1}" srcOrd="0" destOrd="0" presId="urn:microsoft.com/office/officeart/2005/8/layout/vList5"/>
    <dgm:cxn modelId="{24C8785D-AC88-48FC-9EE0-88FFCD693D3E}" type="presParOf" srcId="{DCDA87C6-EABE-480B-B911-AE3FEB61FDB7}" destId="{227ACFEF-C11D-47DB-8404-1AFA661F9DE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2CF13F-2431-41BF-9587-4CA10D4AA75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16E2C88-4771-433E-A79C-C48D46A60716}">
      <dgm:prSet/>
      <dgm:spPr/>
      <dgm:t>
        <a:bodyPr/>
        <a:lstStyle/>
        <a:p>
          <a:r>
            <a:rPr lang="en-US"/>
            <a:t>Orientation and context and tech setup  	                         30 mins</a:t>
          </a:r>
        </a:p>
      </dgm:t>
    </dgm:pt>
    <dgm:pt modelId="{15A66235-7C91-47DF-9E6F-E002A2E14E6E}" type="parTrans" cxnId="{9E32F5FD-BAAC-40F7-BD62-8A2FB33814B3}">
      <dgm:prSet/>
      <dgm:spPr/>
      <dgm:t>
        <a:bodyPr/>
        <a:lstStyle/>
        <a:p>
          <a:endParaRPr lang="en-US"/>
        </a:p>
      </dgm:t>
    </dgm:pt>
    <dgm:pt modelId="{D5E6C071-B8A1-4EF0-BA10-86E59B65577A}" type="sibTrans" cxnId="{9E32F5FD-BAAC-40F7-BD62-8A2FB33814B3}">
      <dgm:prSet/>
      <dgm:spPr/>
      <dgm:t>
        <a:bodyPr/>
        <a:lstStyle/>
        <a:p>
          <a:endParaRPr lang="en-US"/>
        </a:p>
      </dgm:t>
    </dgm:pt>
    <dgm:pt modelId="{5D21B050-C8CA-4EC3-AEE7-20A88FC6327F}">
      <dgm:prSet/>
      <dgm:spPr/>
      <dgm:t>
        <a:bodyPr/>
        <a:lstStyle/>
        <a:p>
          <a:r>
            <a:rPr lang="en-US"/>
            <a:t>Background</a:t>
          </a:r>
        </a:p>
      </dgm:t>
    </dgm:pt>
    <dgm:pt modelId="{32961341-CE84-46EB-8AA2-1B56A0AC8354}" type="parTrans" cxnId="{66EB9730-AF6E-43BC-B7D1-D12E672B4E5B}">
      <dgm:prSet/>
      <dgm:spPr/>
      <dgm:t>
        <a:bodyPr/>
        <a:lstStyle/>
        <a:p>
          <a:endParaRPr lang="en-US"/>
        </a:p>
      </dgm:t>
    </dgm:pt>
    <dgm:pt modelId="{D784A8B5-1629-4F82-9C81-A4C4B90B7E2B}" type="sibTrans" cxnId="{66EB9730-AF6E-43BC-B7D1-D12E672B4E5B}">
      <dgm:prSet/>
      <dgm:spPr/>
      <dgm:t>
        <a:bodyPr/>
        <a:lstStyle/>
        <a:p>
          <a:endParaRPr lang="en-US"/>
        </a:p>
      </dgm:t>
    </dgm:pt>
    <dgm:pt modelId="{833C6C10-AA69-4CB7-B3E4-C69496F96E09}">
      <dgm:prSet/>
      <dgm:spPr/>
      <dgm:t>
        <a:bodyPr/>
        <a:lstStyle/>
        <a:p>
          <a:r>
            <a:rPr lang="en-US"/>
            <a:t>Environment </a:t>
          </a:r>
        </a:p>
      </dgm:t>
    </dgm:pt>
    <dgm:pt modelId="{23C8DA3D-C025-4516-AB82-7E72794A7F7B}" type="parTrans" cxnId="{ED9D47A4-F329-4CEA-AF40-A6E9CF436884}">
      <dgm:prSet/>
      <dgm:spPr/>
      <dgm:t>
        <a:bodyPr/>
        <a:lstStyle/>
        <a:p>
          <a:endParaRPr lang="en-US"/>
        </a:p>
      </dgm:t>
    </dgm:pt>
    <dgm:pt modelId="{A1B0A2B5-1417-4DFA-AFD6-DEF5B82DFCAB}" type="sibTrans" cxnId="{ED9D47A4-F329-4CEA-AF40-A6E9CF436884}">
      <dgm:prSet/>
      <dgm:spPr/>
      <dgm:t>
        <a:bodyPr/>
        <a:lstStyle/>
        <a:p>
          <a:endParaRPr lang="en-US"/>
        </a:p>
      </dgm:t>
    </dgm:pt>
    <dgm:pt modelId="{A05CC60D-A0B0-46E8-B8AA-165D5E9D17FD}">
      <dgm:prSet/>
      <dgm:spPr/>
      <dgm:t>
        <a:bodyPr/>
        <a:lstStyle/>
        <a:p>
          <a:r>
            <a:rPr lang="en-US"/>
            <a:t>Needed assets </a:t>
          </a:r>
        </a:p>
      </dgm:t>
    </dgm:pt>
    <dgm:pt modelId="{244817C4-8227-4C43-91AF-8FDA11A72552}" type="parTrans" cxnId="{B91A3051-1E64-4B36-98D5-E8EB0D2E9C16}">
      <dgm:prSet/>
      <dgm:spPr/>
      <dgm:t>
        <a:bodyPr/>
        <a:lstStyle/>
        <a:p>
          <a:endParaRPr lang="en-US"/>
        </a:p>
      </dgm:t>
    </dgm:pt>
    <dgm:pt modelId="{5D87F192-DFA7-434B-9D7C-D475933AF9B0}" type="sibTrans" cxnId="{B91A3051-1E64-4B36-98D5-E8EB0D2E9C16}">
      <dgm:prSet/>
      <dgm:spPr/>
      <dgm:t>
        <a:bodyPr/>
        <a:lstStyle/>
        <a:p>
          <a:endParaRPr lang="en-US"/>
        </a:p>
      </dgm:t>
    </dgm:pt>
    <dgm:pt modelId="{40C4392D-C1BA-46F0-86F4-6580FD23266E}">
      <dgm:prSet/>
      <dgm:spPr/>
      <dgm:t>
        <a:bodyPr/>
        <a:lstStyle/>
        <a:p>
          <a:r>
            <a:rPr lang="en-US"/>
            <a:t>Hack format </a:t>
          </a:r>
        </a:p>
      </dgm:t>
    </dgm:pt>
    <dgm:pt modelId="{B22CE985-494A-46A6-9999-7D0EA3072F79}" type="parTrans" cxnId="{7584E2B0-E72A-465D-9966-B9232761E3F5}">
      <dgm:prSet/>
      <dgm:spPr/>
      <dgm:t>
        <a:bodyPr/>
        <a:lstStyle/>
        <a:p>
          <a:endParaRPr lang="en-US"/>
        </a:p>
      </dgm:t>
    </dgm:pt>
    <dgm:pt modelId="{DC213D4E-B14F-43FB-9B9F-727F1AAF9F1D}" type="sibTrans" cxnId="{7584E2B0-E72A-465D-9966-B9232761E3F5}">
      <dgm:prSet/>
      <dgm:spPr/>
      <dgm:t>
        <a:bodyPr/>
        <a:lstStyle/>
        <a:p>
          <a:endParaRPr lang="en-US"/>
        </a:p>
      </dgm:t>
    </dgm:pt>
    <dgm:pt modelId="{0824901A-C18F-4A90-881D-E213F9981F4D}">
      <dgm:prSet/>
      <dgm:spPr/>
      <dgm:t>
        <a:bodyPr/>
        <a:lstStyle/>
        <a:p>
          <a:r>
            <a:rPr lang="en-US"/>
            <a:t>Hack &amp; learn 1   Business owner                                                     10 min</a:t>
          </a:r>
        </a:p>
      </dgm:t>
    </dgm:pt>
    <dgm:pt modelId="{3AE92B5F-D237-448F-B8EE-9033438F122B}" type="parTrans" cxnId="{844D6A9A-7768-4688-9EC3-61FA3649B6BA}">
      <dgm:prSet/>
      <dgm:spPr/>
      <dgm:t>
        <a:bodyPr/>
        <a:lstStyle/>
        <a:p>
          <a:endParaRPr lang="en-US"/>
        </a:p>
      </dgm:t>
    </dgm:pt>
    <dgm:pt modelId="{D4CFECD3-A872-4173-9094-76E22C674EBD}" type="sibTrans" cxnId="{844D6A9A-7768-4688-9EC3-61FA3649B6BA}">
      <dgm:prSet/>
      <dgm:spPr/>
      <dgm:t>
        <a:bodyPr/>
        <a:lstStyle/>
        <a:p>
          <a:endParaRPr lang="en-US"/>
        </a:p>
      </dgm:t>
    </dgm:pt>
    <dgm:pt modelId="{5705BE05-18C4-4DF8-9C97-410A715F4DDB}">
      <dgm:prSet/>
      <dgm:spPr/>
      <dgm:t>
        <a:bodyPr/>
        <a:lstStyle/>
        <a:p>
          <a:r>
            <a:rPr lang="en-US"/>
            <a:t>Business problem summary </a:t>
          </a:r>
        </a:p>
      </dgm:t>
    </dgm:pt>
    <dgm:pt modelId="{BBDCD311-EB38-4EEB-B8AB-AD765B6ADEDB}" type="parTrans" cxnId="{CBE3D14F-A3E2-4C43-917D-27823789DD75}">
      <dgm:prSet/>
      <dgm:spPr/>
      <dgm:t>
        <a:bodyPr/>
        <a:lstStyle/>
        <a:p>
          <a:endParaRPr lang="en-US"/>
        </a:p>
      </dgm:t>
    </dgm:pt>
    <dgm:pt modelId="{54E46AEA-9312-44A5-A8A9-37461FE0A8B8}" type="sibTrans" cxnId="{CBE3D14F-A3E2-4C43-917D-27823789DD75}">
      <dgm:prSet/>
      <dgm:spPr/>
      <dgm:t>
        <a:bodyPr/>
        <a:lstStyle/>
        <a:p>
          <a:endParaRPr lang="en-US"/>
        </a:p>
      </dgm:t>
    </dgm:pt>
    <dgm:pt modelId="{61C177CF-6A0F-4E3B-BC41-65E4E8C9B276}">
      <dgm:prSet/>
      <dgm:spPr/>
      <dgm:t>
        <a:bodyPr/>
        <a:lstStyle/>
        <a:p>
          <a:r>
            <a:rPr lang="en-US"/>
            <a:t>Hack &amp; learn 2 	 Data Scientist 			                            90 min 	</a:t>
          </a:r>
        </a:p>
      </dgm:t>
    </dgm:pt>
    <dgm:pt modelId="{560A959F-3F04-4780-A767-749431FD5B66}" type="parTrans" cxnId="{0F3B2F6E-5EB6-43C0-8A15-CF6F53F338F0}">
      <dgm:prSet/>
      <dgm:spPr/>
      <dgm:t>
        <a:bodyPr/>
        <a:lstStyle/>
        <a:p>
          <a:endParaRPr lang="en-US"/>
        </a:p>
      </dgm:t>
    </dgm:pt>
    <dgm:pt modelId="{5B1D625E-4E36-4F67-8397-3F7276DE2AAF}" type="sibTrans" cxnId="{0F3B2F6E-5EB6-43C0-8A15-CF6F53F338F0}">
      <dgm:prSet/>
      <dgm:spPr/>
      <dgm:t>
        <a:bodyPr/>
        <a:lstStyle/>
        <a:p>
          <a:endParaRPr lang="en-US"/>
        </a:p>
      </dgm:t>
    </dgm:pt>
    <dgm:pt modelId="{E2C75B5D-845F-4210-B4B5-F97F1A533751}">
      <dgm:prSet/>
      <dgm:spPr/>
      <dgm:t>
        <a:bodyPr/>
        <a:lstStyle/>
        <a:p>
          <a:r>
            <a:rPr lang="en-US"/>
            <a:t>Forms Recognizer intro and demo</a:t>
          </a:r>
        </a:p>
      </dgm:t>
    </dgm:pt>
    <dgm:pt modelId="{63754BE5-4789-4AC7-A327-B0E33C492D6A}" type="parTrans" cxnId="{79A8806E-0B8E-424C-B0DE-2611C3569800}">
      <dgm:prSet/>
      <dgm:spPr/>
      <dgm:t>
        <a:bodyPr/>
        <a:lstStyle/>
        <a:p>
          <a:endParaRPr lang="en-US"/>
        </a:p>
      </dgm:t>
    </dgm:pt>
    <dgm:pt modelId="{5E335FB7-28A3-4F55-A835-FB78946318EF}" type="sibTrans" cxnId="{79A8806E-0B8E-424C-B0DE-2611C3569800}">
      <dgm:prSet/>
      <dgm:spPr/>
      <dgm:t>
        <a:bodyPr/>
        <a:lstStyle/>
        <a:p>
          <a:endParaRPr lang="en-US"/>
        </a:p>
      </dgm:t>
    </dgm:pt>
    <dgm:pt modelId="{C7E8EE00-FC7D-4652-9B4D-9457E693ACCF}">
      <dgm:prSet/>
      <dgm:spPr/>
      <dgm:t>
        <a:bodyPr/>
        <a:lstStyle/>
        <a:p>
          <a:r>
            <a:rPr lang="en-US"/>
            <a:t>Forms recognizer prebuild DL model test </a:t>
          </a:r>
        </a:p>
      </dgm:t>
    </dgm:pt>
    <dgm:pt modelId="{B646C6C8-BF24-476D-8A8A-EEAC1380DE28}" type="parTrans" cxnId="{511CACCA-7438-4CD9-8B7B-2F1076D54C49}">
      <dgm:prSet/>
      <dgm:spPr/>
      <dgm:t>
        <a:bodyPr/>
        <a:lstStyle/>
        <a:p>
          <a:endParaRPr lang="en-US"/>
        </a:p>
      </dgm:t>
    </dgm:pt>
    <dgm:pt modelId="{93EAE70B-7ED2-4D26-9DFE-88A0E7E3005F}" type="sibTrans" cxnId="{511CACCA-7438-4CD9-8B7B-2F1076D54C49}">
      <dgm:prSet/>
      <dgm:spPr/>
      <dgm:t>
        <a:bodyPr/>
        <a:lstStyle/>
        <a:p>
          <a:endParaRPr lang="en-US"/>
        </a:p>
      </dgm:t>
    </dgm:pt>
    <dgm:pt modelId="{BE549D87-3940-4BB8-AD7F-317596323853}">
      <dgm:prSet/>
      <dgm:spPr/>
      <dgm:t>
        <a:bodyPr/>
        <a:lstStyle/>
        <a:p>
          <a:r>
            <a:rPr lang="en-US" dirty="0"/>
            <a:t>Label and train a new model for Insurance </a:t>
          </a:r>
        </a:p>
      </dgm:t>
    </dgm:pt>
    <dgm:pt modelId="{006AF913-D50E-40EF-833F-02FB2A98EDBD}" type="parTrans" cxnId="{29BC6BB1-98C7-4F10-98BE-814B3E53EEE1}">
      <dgm:prSet/>
      <dgm:spPr/>
      <dgm:t>
        <a:bodyPr/>
        <a:lstStyle/>
        <a:p>
          <a:endParaRPr lang="en-US"/>
        </a:p>
      </dgm:t>
    </dgm:pt>
    <dgm:pt modelId="{71C257FD-E06E-46BA-824D-A701A1F9223F}" type="sibTrans" cxnId="{29BC6BB1-98C7-4F10-98BE-814B3E53EEE1}">
      <dgm:prSet/>
      <dgm:spPr/>
      <dgm:t>
        <a:bodyPr/>
        <a:lstStyle/>
        <a:p>
          <a:endParaRPr lang="en-US"/>
        </a:p>
      </dgm:t>
    </dgm:pt>
    <dgm:pt modelId="{41DF39E4-7389-4232-A444-FC6769E64195}">
      <dgm:prSet/>
      <dgm:spPr/>
      <dgm:t>
        <a:bodyPr/>
        <a:lstStyle/>
        <a:p>
          <a:r>
            <a:rPr lang="en-US" dirty="0"/>
            <a:t>Custom vision intro and demo </a:t>
          </a:r>
        </a:p>
      </dgm:t>
    </dgm:pt>
    <dgm:pt modelId="{7D34672F-CF93-402D-BDEA-A2BB9D917E88}" type="parTrans" cxnId="{D559CF2B-178A-4E9C-81DB-9A61B81F9A16}">
      <dgm:prSet/>
      <dgm:spPr/>
      <dgm:t>
        <a:bodyPr/>
        <a:lstStyle/>
        <a:p>
          <a:endParaRPr lang="en-US"/>
        </a:p>
      </dgm:t>
    </dgm:pt>
    <dgm:pt modelId="{6C4FC062-5655-4C77-8F81-1F93187745C2}" type="sibTrans" cxnId="{D559CF2B-178A-4E9C-81DB-9A61B81F9A16}">
      <dgm:prSet/>
      <dgm:spPr/>
      <dgm:t>
        <a:bodyPr/>
        <a:lstStyle/>
        <a:p>
          <a:endParaRPr lang="en-US"/>
        </a:p>
      </dgm:t>
    </dgm:pt>
    <dgm:pt modelId="{0492B0EE-B28F-4F5F-92F8-3F85530E77F1}">
      <dgm:prSet/>
      <dgm:spPr/>
      <dgm:t>
        <a:bodyPr/>
        <a:lstStyle/>
        <a:p>
          <a:r>
            <a:rPr lang="en-US"/>
            <a:t>Custom vision training and testing </a:t>
          </a:r>
        </a:p>
      </dgm:t>
    </dgm:pt>
    <dgm:pt modelId="{F866A8EB-FE2E-4F4B-99BA-EE5CD5D11CB1}" type="parTrans" cxnId="{16E850D1-61F0-4CC0-ABDB-D168315D8D0B}">
      <dgm:prSet/>
      <dgm:spPr/>
      <dgm:t>
        <a:bodyPr/>
        <a:lstStyle/>
        <a:p>
          <a:endParaRPr lang="en-US"/>
        </a:p>
      </dgm:t>
    </dgm:pt>
    <dgm:pt modelId="{861220CE-BB00-40EC-8081-1B685C92B33F}" type="sibTrans" cxnId="{16E850D1-61F0-4CC0-ABDB-D168315D8D0B}">
      <dgm:prSet/>
      <dgm:spPr/>
      <dgm:t>
        <a:bodyPr/>
        <a:lstStyle/>
        <a:p>
          <a:endParaRPr lang="en-US"/>
        </a:p>
      </dgm:t>
    </dgm:pt>
    <dgm:pt modelId="{B3E96D9D-A99C-47A3-865B-386EE13A7C7A}" type="pres">
      <dgm:prSet presAssocID="{7A2CF13F-2431-41BF-9587-4CA10D4AA755}" presName="linear" presStyleCnt="0">
        <dgm:presLayoutVars>
          <dgm:animLvl val="lvl"/>
          <dgm:resizeHandles val="exact"/>
        </dgm:presLayoutVars>
      </dgm:prSet>
      <dgm:spPr/>
    </dgm:pt>
    <dgm:pt modelId="{7E873ADB-B6B8-4D4A-8E89-538092ACE7C0}" type="pres">
      <dgm:prSet presAssocID="{516E2C88-4771-433E-A79C-C48D46A60716}" presName="parentText" presStyleLbl="node1" presStyleIdx="0" presStyleCnt="3">
        <dgm:presLayoutVars>
          <dgm:chMax val="0"/>
          <dgm:bulletEnabled val="1"/>
        </dgm:presLayoutVars>
      </dgm:prSet>
      <dgm:spPr/>
    </dgm:pt>
    <dgm:pt modelId="{254E6D64-35DE-4577-B4E1-9155EAE15946}" type="pres">
      <dgm:prSet presAssocID="{516E2C88-4771-433E-A79C-C48D46A60716}" presName="childText" presStyleLbl="revTx" presStyleIdx="0" presStyleCnt="3">
        <dgm:presLayoutVars>
          <dgm:bulletEnabled val="1"/>
        </dgm:presLayoutVars>
      </dgm:prSet>
      <dgm:spPr/>
    </dgm:pt>
    <dgm:pt modelId="{C35E1C11-DD46-4569-A55B-4C9F4AF525D2}" type="pres">
      <dgm:prSet presAssocID="{0824901A-C18F-4A90-881D-E213F9981F4D}" presName="parentText" presStyleLbl="node1" presStyleIdx="1" presStyleCnt="3">
        <dgm:presLayoutVars>
          <dgm:chMax val="0"/>
          <dgm:bulletEnabled val="1"/>
        </dgm:presLayoutVars>
      </dgm:prSet>
      <dgm:spPr/>
    </dgm:pt>
    <dgm:pt modelId="{4E3DF4D8-CD49-4073-8BE2-5BC0D6FB588A}" type="pres">
      <dgm:prSet presAssocID="{0824901A-C18F-4A90-881D-E213F9981F4D}" presName="childText" presStyleLbl="revTx" presStyleIdx="1" presStyleCnt="3">
        <dgm:presLayoutVars>
          <dgm:bulletEnabled val="1"/>
        </dgm:presLayoutVars>
      </dgm:prSet>
      <dgm:spPr/>
    </dgm:pt>
    <dgm:pt modelId="{EDA8706B-FDA0-4F98-80BB-99B48B7FFEC5}" type="pres">
      <dgm:prSet presAssocID="{61C177CF-6A0F-4E3B-BC41-65E4E8C9B276}" presName="parentText" presStyleLbl="node1" presStyleIdx="2" presStyleCnt="3">
        <dgm:presLayoutVars>
          <dgm:chMax val="0"/>
          <dgm:bulletEnabled val="1"/>
        </dgm:presLayoutVars>
      </dgm:prSet>
      <dgm:spPr/>
    </dgm:pt>
    <dgm:pt modelId="{583211FE-AF0D-462E-A2AE-CE41D39A2731}" type="pres">
      <dgm:prSet presAssocID="{61C177CF-6A0F-4E3B-BC41-65E4E8C9B276}" presName="childText" presStyleLbl="revTx" presStyleIdx="2" presStyleCnt="3">
        <dgm:presLayoutVars>
          <dgm:bulletEnabled val="1"/>
        </dgm:presLayoutVars>
      </dgm:prSet>
      <dgm:spPr/>
    </dgm:pt>
  </dgm:ptLst>
  <dgm:cxnLst>
    <dgm:cxn modelId="{4D1CF602-EE3E-4480-AAB1-135E61A5B427}" type="presOf" srcId="{0492B0EE-B28F-4F5F-92F8-3F85530E77F1}" destId="{583211FE-AF0D-462E-A2AE-CE41D39A2731}" srcOrd="0" destOrd="1" presId="urn:microsoft.com/office/officeart/2005/8/layout/vList2"/>
    <dgm:cxn modelId="{903F1B05-37C1-4952-BDC8-8FAEBCD50D1B}" type="presOf" srcId="{E2C75B5D-845F-4210-B4B5-F97F1A533751}" destId="{583211FE-AF0D-462E-A2AE-CE41D39A2731}" srcOrd="0" destOrd="2" presId="urn:microsoft.com/office/officeart/2005/8/layout/vList2"/>
    <dgm:cxn modelId="{896EDB18-B64E-4E46-BA86-321C089E223C}" type="presOf" srcId="{833C6C10-AA69-4CB7-B3E4-C69496F96E09}" destId="{254E6D64-35DE-4577-B4E1-9155EAE15946}" srcOrd="0" destOrd="1" presId="urn:microsoft.com/office/officeart/2005/8/layout/vList2"/>
    <dgm:cxn modelId="{86316919-5A70-4354-8FEC-928DFD95DB94}" type="presOf" srcId="{40C4392D-C1BA-46F0-86F4-6580FD23266E}" destId="{254E6D64-35DE-4577-B4E1-9155EAE15946}" srcOrd="0" destOrd="3" presId="urn:microsoft.com/office/officeart/2005/8/layout/vList2"/>
    <dgm:cxn modelId="{D559CF2B-178A-4E9C-81DB-9A61B81F9A16}" srcId="{61C177CF-6A0F-4E3B-BC41-65E4E8C9B276}" destId="{41DF39E4-7389-4232-A444-FC6769E64195}" srcOrd="0" destOrd="0" parTransId="{7D34672F-CF93-402D-BDEA-A2BB9D917E88}" sibTransId="{6C4FC062-5655-4C77-8F81-1F93187745C2}"/>
    <dgm:cxn modelId="{66EB9730-AF6E-43BC-B7D1-D12E672B4E5B}" srcId="{516E2C88-4771-433E-A79C-C48D46A60716}" destId="{5D21B050-C8CA-4EC3-AEE7-20A88FC6327F}" srcOrd="0" destOrd="0" parTransId="{32961341-CE84-46EB-8AA2-1B56A0AC8354}" sibTransId="{D784A8B5-1629-4F82-9C81-A4C4B90B7E2B}"/>
    <dgm:cxn modelId="{AD9EC63D-7391-4120-823F-2A9B3C490B6D}" type="presOf" srcId="{516E2C88-4771-433E-A79C-C48D46A60716}" destId="{7E873ADB-B6B8-4D4A-8E89-538092ACE7C0}" srcOrd="0" destOrd="0" presId="urn:microsoft.com/office/officeart/2005/8/layout/vList2"/>
    <dgm:cxn modelId="{34C36B62-63CE-474C-A8E6-894046EFE410}" type="presOf" srcId="{A05CC60D-A0B0-46E8-B8AA-165D5E9D17FD}" destId="{254E6D64-35DE-4577-B4E1-9155EAE15946}" srcOrd="0" destOrd="2" presId="urn:microsoft.com/office/officeart/2005/8/layout/vList2"/>
    <dgm:cxn modelId="{43CB0D4A-6C25-4716-8D7D-942A09A7447E}" type="presOf" srcId="{C7E8EE00-FC7D-4652-9B4D-9457E693ACCF}" destId="{583211FE-AF0D-462E-A2AE-CE41D39A2731}" srcOrd="0" destOrd="3" presId="urn:microsoft.com/office/officeart/2005/8/layout/vList2"/>
    <dgm:cxn modelId="{0140384B-50A2-4B55-9998-3B02B15F0F3A}" type="presOf" srcId="{5705BE05-18C4-4DF8-9C97-410A715F4DDB}" destId="{4E3DF4D8-CD49-4073-8BE2-5BC0D6FB588A}" srcOrd="0" destOrd="0" presId="urn:microsoft.com/office/officeart/2005/8/layout/vList2"/>
    <dgm:cxn modelId="{0F3B2F6E-5EB6-43C0-8A15-CF6F53F338F0}" srcId="{7A2CF13F-2431-41BF-9587-4CA10D4AA755}" destId="{61C177CF-6A0F-4E3B-BC41-65E4E8C9B276}" srcOrd="2" destOrd="0" parTransId="{560A959F-3F04-4780-A767-749431FD5B66}" sibTransId="{5B1D625E-4E36-4F67-8397-3F7276DE2AAF}"/>
    <dgm:cxn modelId="{79A8806E-0B8E-424C-B0DE-2611C3569800}" srcId="{61C177CF-6A0F-4E3B-BC41-65E4E8C9B276}" destId="{E2C75B5D-845F-4210-B4B5-F97F1A533751}" srcOrd="2" destOrd="0" parTransId="{63754BE5-4789-4AC7-A327-B0E33C492D6A}" sibTransId="{5E335FB7-28A3-4F55-A835-FB78946318EF}"/>
    <dgm:cxn modelId="{CBE3D14F-A3E2-4C43-917D-27823789DD75}" srcId="{0824901A-C18F-4A90-881D-E213F9981F4D}" destId="{5705BE05-18C4-4DF8-9C97-410A715F4DDB}" srcOrd="0" destOrd="0" parTransId="{BBDCD311-EB38-4EEB-B8AB-AD765B6ADEDB}" sibTransId="{54E46AEA-9312-44A5-A8A9-37461FE0A8B8}"/>
    <dgm:cxn modelId="{B91A3051-1E64-4B36-98D5-E8EB0D2E9C16}" srcId="{516E2C88-4771-433E-A79C-C48D46A60716}" destId="{A05CC60D-A0B0-46E8-B8AA-165D5E9D17FD}" srcOrd="2" destOrd="0" parTransId="{244817C4-8227-4C43-91AF-8FDA11A72552}" sibTransId="{5D87F192-DFA7-434B-9D7C-D475933AF9B0}"/>
    <dgm:cxn modelId="{CA35038B-3C9C-4904-B789-7B371FACF94F}" type="presOf" srcId="{BE549D87-3940-4BB8-AD7F-317596323853}" destId="{583211FE-AF0D-462E-A2AE-CE41D39A2731}" srcOrd="0" destOrd="4" presId="urn:microsoft.com/office/officeart/2005/8/layout/vList2"/>
    <dgm:cxn modelId="{844D6A9A-7768-4688-9EC3-61FA3649B6BA}" srcId="{7A2CF13F-2431-41BF-9587-4CA10D4AA755}" destId="{0824901A-C18F-4A90-881D-E213F9981F4D}" srcOrd="1" destOrd="0" parTransId="{3AE92B5F-D237-448F-B8EE-9033438F122B}" sibTransId="{D4CFECD3-A872-4173-9094-76E22C674EBD}"/>
    <dgm:cxn modelId="{ED9D47A4-F329-4CEA-AF40-A6E9CF436884}" srcId="{516E2C88-4771-433E-A79C-C48D46A60716}" destId="{833C6C10-AA69-4CB7-B3E4-C69496F96E09}" srcOrd="1" destOrd="0" parTransId="{23C8DA3D-C025-4516-AB82-7E72794A7F7B}" sibTransId="{A1B0A2B5-1417-4DFA-AFD6-DEF5B82DFCAB}"/>
    <dgm:cxn modelId="{7584E2B0-E72A-465D-9966-B9232761E3F5}" srcId="{516E2C88-4771-433E-A79C-C48D46A60716}" destId="{40C4392D-C1BA-46F0-86F4-6580FD23266E}" srcOrd="3" destOrd="0" parTransId="{B22CE985-494A-46A6-9999-7D0EA3072F79}" sibTransId="{DC213D4E-B14F-43FB-9B9F-727F1AAF9F1D}"/>
    <dgm:cxn modelId="{29BC6BB1-98C7-4F10-98BE-814B3E53EEE1}" srcId="{61C177CF-6A0F-4E3B-BC41-65E4E8C9B276}" destId="{BE549D87-3940-4BB8-AD7F-317596323853}" srcOrd="4" destOrd="0" parTransId="{006AF913-D50E-40EF-833F-02FB2A98EDBD}" sibTransId="{71C257FD-E06E-46BA-824D-A701A1F9223F}"/>
    <dgm:cxn modelId="{511CACCA-7438-4CD9-8B7B-2F1076D54C49}" srcId="{61C177CF-6A0F-4E3B-BC41-65E4E8C9B276}" destId="{C7E8EE00-FC7D-4652-9B4D-9457E693ACCF}" srcOrd="3" destOrd="0" parTransId="{B646C6C8-BF24-476D-8A8A-EEAC1380DE28}" sibTransId="{93EAE70B-7ED2-4D26-9DFE-88A0E7E3005F}"/>
    <dgm:cxn modelId="{C11705CB-4B3A-44D9-87F6-56A80AD66BC1}" type="presOf" srcId="{41DF39E4-7389-4232-A444-FC6769E64195}" destId="{583211FE-AF0D-462E-A2AE-CE41D39A2731}" srcOrd="0" destOrd="0" presId="urn:microsoft.com/office/officeart/2005/8/layout/vList2"/>
    <dgm:cxn modelId="{825838D1-7162-4563-A87C-5C02B2D6A2C0}" type="presOf" srcId="{0824901A-C18F-4A90-881D-E213F9981F4D}" destId="{C35E1C11-DD46-4569-A55B-4C9F4AF525D2}" srcOrd="0" destOrd="0" presId="urn:microsoft.com/office/officeart/2005/8/layout/vList2"/>
    <dgm:cxn modelId="{16E850D1-61F0-4CC0-ABDB-D168315D8D0B}" srcId="{61C177CF-6A0F-4E3B-BC41-65E4E8C9B276}" destId="{0492B0EE-B28F-4F5F-92F8-3F85530E77F1}" srcOrd="1" destOrd="0" parTransId="{F866A8EB-FE2E-4F4B-99BA-EE5CD5D11CB1}" sibTransId="{861220CE-BB00-40EC-8081-1B685C92B33F}"/>
    <dgm:cxn modelId="{EB6050D4-F0AF-4D2F-9B85-9F64DE73C0DD}" type="presOf" srcId="{7A2CF13F-2431-41BF-9587-4CA10D4AA755}" destId="{B3E96D9D-A99C-47A3-865B-386EE13A7C7A}" srcOrd="0" destOrd="0" presId="urn:microsoft.com/office/officeart/2005/8/layout/vList2"/>
    <dgm:cxn modelId="{019BD8D7-B021-43A5-9A5E-153F737B82A9}" type="presOf" srcId="{61C177CF-6A0F-4E3B-BC41-65E4E8C9B276}" destId="{EDA8706B-FDA0-4F98-80BB-99B48B7FFEC5}" srcOrd="0" destOrd="0" presId="urn:microsoft.com/office/officeart/2005/8/layout/vList2"/>
    <dgm:cxn modelId="{5DD4B0EE-3D7E-417C-9528-0774ED1C8BEC}" type="presOf" srcId="{5D21B050-C8CA-4EC3-AEE7-20A88FC6327F}" destId="{254E6D64-35DE-4577-B4E1-9155EAE15946}" srcOrd="0" destOrd="0" presId="urn:microsoft.com/office/officeart/2005/8/layout/vList2"/>
    <dgm:cxn modelId="{9E32F5FD-BAAC-40F7-BD62-8A2FB33814B3}" srcId="{7A2CF13F-2431-41BF-9587-4CA10D4AA755}" destId="{516E2C88-4771-433E-A79C-C48D46A60716}" srcOrd="0" destOrd="0" parTransId="{15A66235-7C91-47DF-9E6F-E002A2E14E6E}" sibTransId="{D5E6C071-B8A1-4EF0-BA10-86E59B65577A}"/>
    <dgm:cxn modelId="{E4059D5C-8403-48D6-917B-91D6FE6CD49B}" type="presParOf" srcId="{B3E96D9D-A99C-47A3-865B-386EE13A7C7A}" destId="{7E873ADB-B6B8-4D4A-8E89-538092ACE7C0}" srcOrd="0" destOrd="0" presId="urn:microsoft.com/office/officeart/2005/8/layout/vList2"/>
    <dgm:cxn modelId="{A8D0856F-E745-4ED3-A4BA-00380319BEB4}" type="presParOf" srcId="{B3E96D9D-A99C-47A3-865B-386EE13A7C7A}" destId="{254E6D64-35DE-4577-B4E1-9155EAE15946}" srcOrd="1" destOrd="0" presId="urn:microsoft.com/office/officeart/2005/8/layout/vList2"/>
    <dgm:cxn modelId="{49C09BEF-FB7F-453D-B1D0-39FBBEB722CE}" type="presParOf" srcId="{B3E96D9D-A99C-47A3-865B-386EE13A7C7A}" destId="{C35E1C11-DD46-4569-A55B-4C9F4AF525D2}" srcOrd="2" destOrd="0" presId="urn:microsoft.com/office/officeart/2005/8/layout/vList2"/>
    <dgm:cxn modelId="{EA77E010-F6FE-42FE-ADA4-C965B7FF953C}" type="presParOf" srcId="{B3E96D9D-A99C-47A3-865B-386EE13A7C7A}" destId="{4E3DF4D8-CD49-4073-8BE2-5BC0D6FB588A}" srcOrd="3" destOrd="0" presId="urn:microsoft.com/office/officeart/2005/8/layout/vList2"/>
    <dgm:cxn modelId="{F5479784-62BB-40E0-8E8F-10385F0B9F1D}" type="presParOf" srcId="{B3E96D9D-A99C-47A3-865B-386EE13A7C7A}" destId="{EDA8706B-FDA0-4F98-80BB-99B48B7FFEC5}" srcOrd="4" destOrd="0" presId="urn:microsoft.com/office/officeart/2005/8/layout/vList2"/>
    <dgm:cxn modelId="{5ABCE82E-A92C-4A54-8EC7-EE6968D48BA4}" type="presParOf" srcId="{B3E96D9D-A99C-47A3-865B-386EE13A7C7A}" destId="{583211FE-AF0D-462E-A2AE-CE41D39A2731}"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E3F5B3-D3CA-4257-9479-4912B8132D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93733-CF77-4DDD-8488-3B4B51673823}">
      <dgm:prSet/>
      <dgm:spPr/>
      <dgm:t>
        <a:bodyPr/>
        <a:lstStyle/>
        <a:p>
          <a:r>
            <a:rPr lang="en-US" dirty="0"/>
            <a:t>Hack and Learn 3 – Automation/Data  </a:t>
          </a:r>
          <a:r>
            <a:rPr lang="en-US" dirty="0" err="1"/>
            <a:t>Engg</a:t>
          </a:r>
          <a:r>
            <a:rPr lang="en-US" dirty="0"/>
            <a:t>		90 mins</a:t>
          </a:r>
        </a:p>
      </dgm:t>
    </dgm:pt>
    <dgm:pt modelId="{84C9FC33-45D1-4087-85CD-AE8034C14E53}" type="parTrans" cxnId="{EAD3C383-3724-42AC-B28F-7D4E8E845736}">
      <dgm:prSet/>
      <dgm:spPr/>
      <dgm:t>
        <a:bodyPr/>
        <a:lstStyle/>
        <a:p>
          <a:endParaRPr lang="en-US"/>
        </a:p>
      </dgm:t>
    </dgm:pt>
    <dgm:pt modelId="{E3EACEA5-C6D3-4B3C-8684-644B34981018}" type="sibTrans" cxnId="{EAD3C383-3724-42AC-B28F-7D4E8E845736}">
      <dgm:prSet/>
      <dgm:spPr/>
      <dgm:t>
        <a:bodyPr/>
        <a:lstStyle/>
        <a:p>
          <a:endParaRPr lang="en-US"/>
        </a:p>
      </dgm:t>
    </dgm:pt>
    <dgm:pt modelId="{99947D50-BDEF-4A1F-A07B-F7CD0F215BBE}">
      <dgm:prSet/>
      <dgm:spPr/>
      <dgm:t>
        <a:bodyPr/>
        <a:lstStyle/>
        <a:p>
          <a:r>
            <a:rPr lang="en-US"/>
            <a:t>Introduction to logic apps</a:t>
          </a:r>
        </a:p>
      </dgm:t>
    </dgm:pt>
    <dgm:pt modelId="{FCA1898C-9DE4-46BF-89BA-BFC334801D6A}" type="parTrans" cxnId="{70A63509-D955-4FF8-B224-270DBE4F245E}">
      <dgm:prSet/>
      <dgm:spPr/>
      <dgm:t>
        <a:bodyPr/>
        <a:lstStyle/>
        <a:p>
          <a:endParaRPr lang="en-US"/>
        </a:p>
      </dgm:t>
    </dgm:pt>
    <dgm:pt modelId="{DED1E6F7-BF3A-4674-9146-512768653F5A}" type="sibTrans" cxnId="{70A63509-D955-4FF8-B224-270DBE4F245E}">
      <dgm:prSet/>
      <dgm:spPr/>
      <dgm:t>
        <a:bodyPr/>
        <a:lstStyle/>
        <a:p>
          <a:endParaRPr lang="en-US"/>
        </a:p>
      </dgm:t>
    </dgm:pt>
    <dgm:pt modelId="{12C5537E-C56F-4C1F-BEA2-0A683B9FE0E2}">
      <dgm:prSet/>
      <dgm:spPr/>
      <dgm:t>
        <a:bodyPr/>
        <a:lstStyle/>
        <a:p>
          <a:r>
            <a:rPr lang="en-US"/>
            <a:t>Introduction to cosmos db</a:t>
          </a:r>
        </a:p>
      </dgm:t>
    </dgm:pt>
    <dgm:pt modelId="{4A454897-B28D-4BBD-A00C-A123CB667E5F}" type="parTrans" cxnId="{E29D7E41-D492-4D47-A066-F22427F12A2F}">
      <dgm:prSet/>
      <dgm:spPr/>
      <dgm:t>
        <a:bodyPr/>
        <a:lstStyle/>
        <a:p>
          <a:endParaRPr lang="en-US"/>
        </a:p>
      </dgm:t>
    </dgm:pt>
    <dgm:pt modelId="{A137AA63-D616-43FD-8AAD-324CB10D69BA}" type="sibTrans" cxnId="{E29D7E41-D492-4D47-A066-F22427F12A2F}">
      <dgm:prSet/>
      <dgm:spPr/>
      <dgm:t>
        <a:bodyPr/>
        <a:lstStyle/>
        <a:p>
          <a:endParaRPr lang="en-US"/>
        </a:p>
      </dgm:t>
    </dgm:pt>
    <dgm:pt modelId="{E629E1DA-4134-4482-AB55-9416FD6511B4}">
      <dgm:prSet/>
      <dgm:spPr/>
      <dgm:t>
        <a:bodyPr/>
        <a:lstStyle/>
        <a:p>
          <a:r>
            <a:rPr lang="en-US"/>
            <a:t>Plug in models </a:t>
          </a:r>
        </a:p>
      </dgm:t>
    </dgm:pt>
    <dgm:pt modelId="{0318B129-E57E-4C86-BF71-566958AF8726}" type="parTrans" cxnId="{90E093D8-59A8-430F-8F48-A0F816F95718}">
      <dgm:prSet/>
      <dgm:spPr/>
      <dgm:t>
        <a:bodyPr/>
        <a:lstStyle/>
        <a:p>
          <a:endParaRPr lang="en-US"/>
        </a:p>
      </dgm:t>
    </dgm:pt>
    <dgm:pt modelId="{68AE95F5-266C-4150-A2D4-F8D08380EE02}" type="sibTrans" cxnId="{90E093D8-59A8-430F-8F48-A0F816F95718}">
      <dgm:prSet/>
      <dgm:spPr/>
      <dgm:t>
        <a:bodyPr/>
        <a:lstStyle/>
        <a:p>
          <a:endParaRPr lang="en-US"/>
        </a:p>
      </dgm:t>
    </dgm:pt>
    <dgm:pt modelId="{8084EE62-7886-4C82-978E-4F2AB8780256}">
      <dgm:prSet/>
      <dgm:spPr/>
      <dgm:t>
        <a:bodyPr/>
        <a:lstStyle/>
        <a:p>
          <a:r>
            <a:rPr lang="en-US"/>
            <a:t>Test using upload to storage account</a:t>
          </a:r>
        </a:p>
      </dgm:t>
    </dgm:pt>
    <dgm:pt modelId="{FB840125-4C80-42B3-8D7D-570E4CF60BA6}" type="parTrans" cxnId="{59928997-4079-4B86-B371-52C75B307411}">
      <dgm:prSet/>
      <dgm:spPr/>
      <dgm:t>
        <a:bodyPr/>
        <a:lstStyle/>
        <a:p>
          <a:endParaRPr lang="en-US"/>
        </a:p>
      </dgm:t>
    </dgm:pt>
    <dgm:pt modelId="{74DEBA6F-8457-4FE1-AB7D-6ED59C621727}" type="sibTrans" cxnId="{59928997-4079-4B86-B371-52C75B307411}">
      <dgm:prSet/>
      <dgm:spPr/>
      <dgm:t>
        <a:bodyPr/>
        <a:lstStyle/>
        <a:p>
          <a:endParaRPr lang="en-US"/>
        </a:p>
      </dgm:t>
    </dgm:pt>
    <dgm:pt modelId="{683F9CBD-F470-4CD0-8DF7-6FCF615F2BE5}">
      <dgm:prSet/>
      <dgm:spPr/>
      <dgm:t>
        <a:bodyPr/>
        <a:lstStyle/>
        <a:p>
          <a:r>
            <a:rPr lang="en-US"/>
            <a:t>Introduction to Cognitive search                  </a:t>
          </a:r>
        </a:p>
      </dgm:t>
    </dgm:pt>
    <dgm:pt modelId="{1A583FDA-1D14-45E0-BE14-DC9B8E8A63C4}" type="parTrans" cxnId="{4259A6B3-4268-45C9-8EB7-BD3BA8B95150}">
      <dgm:prSet/>
      <dgm:spPr/>
      <dgm:t>
        <a:bodyPr/>
        <a:lstStyle/>
        <a:p>
          <a:endParaRPr lang="en-US"/>
        </a:p>
      </dgm:t>
    </dgm:pt>
    <dgm:pt modelId="{F5A0B404-79D8-4A1F-8960-0781D459B887}" type="sibTrans" cxnId="{4259A6B3-4268-45C9-8EB7-BD3BA8B95150}">
      <dgm:prSet/>
      <dgm:spPr/>
      <dgm:t>
        <a:bodyPr/>
        <a:lstStyle/>
        <a:p>
          <a:endParaRPr lang="en-US"/>
        </a:p>
      </dgm:t>
    </dgm:pt>
    <dgm:pt modelId="{844520E1-0C3E-4842-AF3A-7768329EBA48}">
      <dgm:prSet/>
      <dgm:spPr/>
      <dgm:t>
        <a:bodyPr/>
        <a:lstStyle/>
        <a:p>
          <a:r>
            <a:rPr lang="en-US"/>
            <a:t>Test cognitive search </a:t>
          </a:r>
        </a:p>
      </dgm:t>
    </dgm:pt>
    <dgm:pt modelId="{B3F4D297-1FC2-4801-9433-28D2F9FD1920}" type="parTrans" cxnId="{616A5F7A-9D76-4B3E-A5CD-F2C4110E4FA5}">
      <dgm:prSet/>
      <dgm:spPr/>
      <dgm:t>
        <a:bodyPr/>
        <a:lstStyle/>
        <a:p>
          <a:endParaRPr lang="en-US"/>
        </a:p>
      </dgm:t>
    </dgm:pt>
    <dgm:pt modelId="{09282B8E-CD28-4A96-902D-ECC600B620FF}" type="sibTrans" cxnId="{616A5F7A-9D76-4B3E-A5CD-F2C4110E4FA5}">
      <dgm:prSet/>
      <dgm:spPr/>
      <dgm:t>
        <a:bodyPr/>
        <a:lstStyle/>
        <a:p>
          <a:endParaRPr lang="en-US"/>
        </a:p>
      </dgm:t>
    </dgm:pt>
    <dgm:pt modelId="{510D0BC9-B521-49A6-9535-8B9483B4187F}">
      <dgm:prSet/>
      <dgm:spPr/>
      <dgm:t>
        <a:bodyPr/>
        <a:lstStyle/>
        <a:p>
          <a:r>
            <a:rPr lang="en-US" dirty="0"/>
            <a:t>Hack and learn 4 – User interface Dev 		              30 min 	</a:t>
          </a:r>
        </a:p>
      </dgm:t>
    </dgm:pt>
    <dgm:pt modelId="{7AE798B3-5704-4378-8CA2-18E12F231304}" type="parTrans" cxnId="{84E1A976-6FB4-452D-A480-32E334138787}">
      <dgm:prSet/>
      <dgm:spPr/>
      <dgm:t>
        <a:bodyPr/>
        <a:lstStyle/>
        <a:p>
          <a:endParaRPr lang="en-US"/>
        </a:p>
      </dgm:t>
    </dgm:pt>
    <dgm:pt modelId="{C8D9299D-E83C-430E-B718-E04952C96867}" type="sibTrans" cxnId="{84E1A976-6FB4-452D-A480-32E334138787}">
      <dgm:prSet/>
      <dgm:spPr/>
      <dgm:t>
        <a:bodyPr/>
        <a:lstStyle/>
        <a:p>
          <a:endParaRPr lang="en-US"/>
        </a:p>
      </dgm:t>
    </dgm:pt>
    <dgm:pt modelId="{8C71D2F1-5C08-4635-9D01-1CA515CEF13F}">
      <dgm:prSet/>
      <dgm:spPr/>
      <dgm:t>
        <a:bodyPr/>
        <a:lstStyle/>
        <a:p>
          <a:r>
            <a:rPr lang="en-US" dirty="0"/>
            <a:t>Introduction to Cognitive Search</a:t>
          </a:r>
        </a:p>
      </dgm:t>
    </dgm:pt>
    <dgm:pt modelId="{139D0626-907B-4365-A715-C91F2C55212E}" type="parTrans" cxnId="{D2FEE2A9-ADA4-4552-A14F-0AE475F8D1EC}">
      <dgm:prSet/>
      <dgm:spPr/>
      <dgm:t>
        <a:bodyPr/>
        <a:lstStyle/>
        <a:p>
          <a:endParaRPr lang="en-US"/>
        </a:p>
      </dgm:t>
    </dgm:pt>
    <dgm:pt modelId="{E1C1A9F5-6E5B-4CF2-924F-29E5F97FF205}" type="sibTrans" cxnId="{D2FEE2A9-ADA4-4552-A14F-0AE475F8D1EC}">
      <dgm:prSet/>
      <dgm:spPr/>
      <dgm:t>
        <a:bodyPr/>
        <a:lstStyle/>
        <a:p>
          <a:endParaRPr lang="en-US"/>
        </a:p>
      </dgm:t>
    </dgm:pt>
    <dgm:pt modelId="{38F2AE1C-2E1E-4CBF-9EAE-E1977B0125CA}">
      <dgm:prSet/>
      <dgm:spPr/>
      <dgm:t>
        <a:bodyPr/>
        <a:lstStyle/>
        <a:p>
          <a:r>
            <a:rPr lang="en-US" dirty="0"/>
            <a:t>Web interface </a:t>
          </a:r>
        </a:p>
      </dgm:t>
    </dgm:pt>
    <dgm:pt modelId="{496A8C8C-57C9-4BDE-9880-704974031042}" type="parTrans" cxnId="{88DA694C-6919-49B7-8CFE-847573302878}">
      <dgm:prSet/>
      <dgm:spPr/>
      <dgm:t>
        <a:bodyPr/>
        <a:lstStyle/>
        <a:p>
          <a:endParaRPr lang="en-US"/>
        </a:p>
      </dgm:t>
    </dgm:pt>
    <dgm:pt modelId="{E1678879-FCF3-470F-9B47-F10850C37076}" type="sibTrans" cxnId="{88DA694C-6919-49B7-8CFE-847573302878}">
      <dgm:prSet/>
      <dgm:spPr/>
      <dgm:t>
        <a:bodyPr/>
        <a:lstStyle/>
        <a:p>
          <a:endParaRPr lang="en-US"/>
        </a:p>
      </dgm:t>
    </dgm:pt>
    <dgm:pt modelId="{83DD6D66-2F80-4788-9D13-A12F8568571A}">
      <dgm:prSet/>
      <dgm:spPr/>
      <dgm:t>
        <a:bodyPr/>
        <a:lstStyle/>
        <a:p>
          <a:r>
            <a:rPr lang="en-US"/>
            <a:t>Hack and learn 5 – End to end test    		                30 mins </a:t>
          </a:r>
        </a:p>
      </dgm:t>
    </dgm:pt>
    <dgm:pt modelId="{4A094612-422D-402E-A557-4E5B7B2E4C64}" type="parTrans" cxnId="{F140F654-04C5-4E83-870B-0BF720FA43C3}">
      <dgm:prSet/>
      <dgm:spPr/>
      <dgm:t>
        <a:bodyPr/>
        <a:lstStyle/>
        <a:p>
          <a:endParaRPr lang="en-US"/>
        </a:p>
      </dgm:t>
    </dgm:pt>
    <dgm:pt modelId="{B107B64D-1BB3-4232-9AB5-67647CD070CB}" type="sibTrans" cxnId="{F140F654-04C5-4E83-870B-0BF720FA43C3}">
      <dgm:prSet/>
      <dgm:spPr/>
      <dgm:t>
        <a:bodyPr/>
        <a:lstStyle/>
        <a:p>
          <a:endParaRPr lang="en-US"/>
        </a:p>
      </dgm:t>
    </dgm:pt>
    <dgm:pt modelId="{476AFD78-009D-4D31-8A15-EFA5BA61D0EF}" type="pres">
      <dgm:prSet presAssocID="{E8E3F5B3-D3CA-4257-9479-4912B8132DE5}" presName="linear" presStyleCnt="0">
        <dgm:presLayoutVars>
          <dgm:animLvl val="lvl"/>
          <dgm:resizeHandles val="exact"/>
        </dgm:presLayoutVars>
      </dgm:prSet>
      <dgm:spPr/>
    </dgm:pt>
    <dgm:pt modelId="{882386B5-9221-4CEA-A2A8-571F19FD5725}" type="pres">
      <dgm:prSet presAssocID="{0E193733-CF77-4DDD-8488-3B4B51673823}" presName="parentText" presStyleLbl="node1" presStyleIdx="0" presStyleCnt="3">
        <dgm:presLayoutVars>
          <dgm:chMax val="0"/>
          <dgm:bulletEnabled val="1"/>
        </dgm:presLayoutVars>
      </dgm:prSet>
      <dgm:spPr/>
    </dgm:pt>
    <dgm:pt modelId="{94128BDE-7D87-4CCF-8960-9A311CDF08B7}" type="pres">
      <dgm:prSet presAssocID="{0E193733-CF77-4DDD-8488-3B4B51673823}" presName="childText" presStyleLbl="revTx" presStyleIdx="0" presStyleCnt="2">
        <dgm:presLayoutVars>
          <dgm:bulletEnabled val="1"/>
        </dgm:presLayoutVars>
      </dgm:prSet>
      <dgm:spPr/>
    </dgm:pt>
    <dgm:pt modelId="{48C6918F-7AC7-44A9-BDA1-5E21652BD07B}" type="pres">
      <dgm:prSet presAssocID="{510D0BC9-B521-49A6-9535-8B9483B4187F}" presName="parentText" presStyleLbl="node1" presStyleIdx="1" presStyleCnt="3">
        <dgm:presLayoutVars>
          <dgm:chMax val="0"/>
          <dgm:bulletEnabled val="1"/>
        </dgm:presLayoutVars>
      </dgm:prSet>
      <dgm:spPr/>
    </dgm:pt>
    <dgm:pt modelId="{1CF28688-8484-4C61-A56F-FC717BFA91EE}" type="pres">
      <dgm:prSet presAssocID="{510D0BC9-B521-49A6-9535-8B9483B4187F}" presName="childText" presStyleLbl="revTx" presStyleIdx="1" presStyleCnt="2">
        <dgm:presLayoutVars>
          <dgm:bulletEnabled val="1"/>
        </dgm:presLayoutVars>
      </dgm:prSet>
      <dgm:spPr/>
    </dgm:pt>
    <dgm:pt modelId="{876DEE41-45A7-4DC2-ADCF-D5E0DAAD12F7}" type="pres">
      <dgm:prSet presAssocID="{83DD6D66-2F80-4788-9D13-A12F8568571A}" presName="parentText" presStyleLbl="node1" presStyleIdx="2" presStyleCnt="3">
        <dgm:presLayoutVars>
          <dgm:chMax val="0"/>
          <dgm:bulletEnabled val="1"/>
        </dgm:presLayoutVars>
      </dgm:prSet>
      <dgm:spPr/>
    </dgm:pt>
  </dgm:ptLst>
  <dgm:cxnLst>
    <dgm:cxn modelId="{03CA9100-9E4E-4A04-94CE-271BD8C20EDF}" type="presOf" srcId="{E8E3F5B3-D3CA-4257-9479-4912B8132DE5}" destId="{476AFD78-009D-4D31-8A15-EFA5BA61D0EF}" srcOrd="0" destOrd="0" presId="urn:microsoft.com/office/officeart/2005/8/layout/vList2"/>
    <dgm:cxn modelId="{70A63509-D955-4FF8-B224-270DBE4F245E}" srcId="{0E193733-CF77-4DDD-8488-3B4B51673823}" destId="{99947D50-BDEF-4A1F-A07B-F7CD0F215BBE}" srcOrd="0" destOrd="0" parTransId="{FCA1898C-9DE4-46BF-89BA-BFC334801D6A}" sibTransId="{DED1E6F7-BF3A-4674-9146-512768653F5A}"/>
    <dgm:cxn modelId="{5845E029-7275-43B7-A946-8E908C40CEDF}" type="presOf" srcId="{510D0BC9-B521-49A6-9535-8B9483B4187F}" destId="{48C6918F-7AC7-44A9-BDA1-5E21652BD07B}" srcOrd="0" destOrd="0" presId="urn:microsoft.com/office/officeart/2005/8/layout/vList2"/>
    <dgm:cxn modelId="{E29D7E41-D492-4D47-A066-F22427F12A2F}" srcId="{0E193733-CF77-4DDD-8488-3B4B51673823}" destId="{12C5537E-C56F-4C1F-BEA2-0A683B9FE0E2}" srcOrd="1" destOrd="0" parTransId="{4A454897-B28D-4BBD-A00C-A123CB667E5F}" sibTransId="{A137AA63-D616-43FD-8AAD-324CB10D69BA}"/>
    <dgm:cxn modelId="{67502969-3187-49C9-BAD8-DF2C224DAA48}" type="presOf" srcId="{83DD6D66-2F80-4788-9D13-A12F8568571A}" destId="{876DEE41-45A7-4DC2-ADCF-D5E0DAAD12F7}" srcOrd="0" destOrd="0" presId="urn:microsoft.com/office/officeart/2005/8/layout/vList2"/>
    <dgm:cxn modelId="{88DA694C-6919-49B7-8CFE-847573302878}" srcId="{510D0BC9-B521-49A6-9535-8B9483B4187F}" destId="{38F2AE1C-2E1E-4CBF-9EAE-E1977B0125CA}" srcOrd="1" destOrd="0" parTransId="{496A8C8C-57C9-4BDE-9880-704974031042}" sibTransId="{E1678879-FCF3-470F-9B47-F10850C37076}"/>
    <dgm:cxn modelId="{DEACDE6C-2948-45EB-82D3-7B9993F75807}" type="presOf" srcId="{12C5537E-C56F-4C1F-BEA2-0A683B9FE0E2}" destId="{94128BDE-7D87-4CCF-8960-9A311CDF08B7}" srcOrd="0" destOrd="1" presId="urn:microsoft.com/office/officeart/2005/8/layout/vList2"/>
    <dgm:cxn modelId="{D9CC9050-3340-468B-A8D4-8CCBE50C2517}" type="presOf" srcId="{E629E1DA-4134-4482-AB55-9416FD6511B4}" destId="{94128BDE-7D87-4CCF-8960-9A311CDF08B7}" srcOrd="0" destOrd="2" presId="urn:microsoft.com/office/officeart/2005/8/layout/vList2"/>
    <dgm:cxn modelId="{F140F654-04C5-4E83-870B-0BF720FA43C3}" srcId="{E8E3F5B3-D3CA-4257-9479-4912B8132DE5}" destId="{83DD6D66-2F80-4788-9D13-A12F8568571A}" srcOrd="2" destOrd="0" parTransId="{4A094612-422D-402E-A557-4E5B7B2E4C64}" sibTransId="{B107B64D-1BB3-4232-9AB5-67647CD070CB}"/>
    <dgm:cxn modelId="{84E1A976-6FB4-452D-A480-32E334138787}" srcId="{E8E3F5B3-D3CA-4257-9479-4912B8132DE5}" destId="{510D0BC9-B521-49A6-9535-8B9483B4187F}" srcOrd="1" destOrd="0" parTransId="{7AE798B3-5704-4378-8CA2-18E12F231304}" sibTransId="{C8D9299D-E83C-430E-B718-E04952C96867}"/>
    <dgm:cxn modelId="{616A5F7A-9D76-4B3E-A5CD-F2C4110E4FA5}" srcId="{0E193733-CF77-4DDD-8488-3B4B51673823}" destId="{844520E1-0C3E-4842-AF3A-7768329EBA48}" srcOrd="5" destOrd="0" parTransId="{B3F4D297-1FC2-4801-9433-28D2F9FD1920}" sibTransId="{09282B8E-CD28-4A96-902D-ECC600B620FF}"/>
    <dgm:cxn modelId="{E1AAEA80-0CC0-445B-AAD4-FE241ACAE162}" type="presOf" srcId="{0E193733-CF77-4DDD-8488-3B4B51673823}" destId="{882386B5-9221-4CEA-A2A8-571F19FD5725}" srcOrd="0" destOrd="0" presId="urn:microsoft.com/office/officeart/2005/8/layout/vList2"/>
    <dgm:cxn modelId="{EAD3C383-3724-42AC-B28F-7D4E8E845736}" srcId="{E8E3F5B3-D3CA-4257-9479-4912B8132DE5}" destId="{0E193733-CF77-4DDD-8488-3B4B51673823}" srcOrd="0" destOrd="0" parTransId="{84C9FC33-45D1-4087-85CD-AE8034C14E53}" sibTransId="{E3EACEA5-C6D3-4B3C-8684-644B34981018}"/>
    <dgm:cxn modelId="{E6BA4D90-D74E-4F3D-93CB-A67D55EC18A0}" type="presOf" srcId="{38F2AE1C-2E1E-4CBF-9EAE-E1977B0125CA}" destId="{1CF28688-8484-4C61-A56F-FC717BFA91EE}" srcOrd="0" destOrd="1" presId="urn:microsoft.com/office/officeart/2005/8/layout/vList2"/>
    <dgm:cxn modelId="{59928997-4079-4B86-B371-52C75B307411}" srcId="{0E193733-CF77-4DDD-8488-3B4B51673823}" destId="{8084EE62-7886-4C82-978E-4F2AB8780256}" srcOrd="3" destOrd="0" parTransId="{FB840125-4C80-42B3-8D7D-570E4CF60BA6}" sibTransId="{74DEBA6F-8457-4FE1-AB7D-6ED59C621727}"/>
    <dgm:cxn modelId="{8093279D-02B2-4CC6-B77D-78E14785539F}" type="presOf" srcId="{8C71D2F1-5C08-4635-9D01-1CA515CEF13F}" destId="{1CF28688-8484-4C61-A56F-FC717BFA91EE}" srcOrd="0" destOrd="0" presId="urn:microsoft.com/office/officeart/2005/8/layout/vList2"/>
    <dgm:cxn modelId="{D2FEE2A9-ADA4-4552-A14F-0AE475F8D1EC}" srcId="{510D0BC9-B521-49A6-9535-8B9483B4187F}" destId="{8C71D2F1-5C08-4635-9D01-1CA515CEF13F}" srcOrd="0" destOrd="0" parTransId="{139D0626-907B-4365-A715-C91F2C55212E}" sibTransId="{E1C1A9F5-6E5B-4CF2-924F-29E5F97FF205}"/>
    <dgm:cxn modelId="{D5CB55AF-C9B7-43BF-82A4-711F90E73281}" type="presOf" srcId="{8084EE62-7886-4C82-978E-4F2AB8780256}" destId="{94128BDE-7D87-4CCF-8960-9A311CDF08B7}" srcOrd="0" destOrd="3" presId="urn:microsoft.com/office/officeart/2005/8/layout/vList2"/>
    <dgm:cxn modelId="{4259A6B3-4268-45C9-8EB7-BD3BA8B95150}" srcId="{0E193733-CF77-4DDD-8488-3B4B51673823}" destId="{683F9CBD-F470-4CD0-8DF7-6FCF615F2BE5}" srcOrd="4" destOrd="0" parTransId="{1A583FDA-1D14-45E0-BE14-DC9B8E8A63C4}" sibTransId="{F5A0B404-79D8-4A1F-8960-0781D459B887}"/>
    <dgm:cxn modelId="{D8C614C5-E54E-4DE8-B73F-14C54FE1202B}" type="presOf" srcId="{683F9CBD-F470-4CD0-8DF7-6FCF615F2BE5}" destId="{94128BDE-7D87-4CCF-8960-9A311CDF08B7}" srcOrd="0" destOrd="4" presId="urn:microsoft.com/office/officeart/2005/8/layout/vList2"/>
    <dgm:cxn modelId="{21B960CF-DC3C-436F-BD2A-B0CC4DA240A2}" type="presOf" srcId="{99947D50-BDEF-4A1F-A07B-F7CD0F215BBE}" destId="{94128BDE-7D87-4CCF-8960-9A311CDF08B7}" srcOrd="0" destOrd="0" presId="urn:microsoft.com/office/officeart/2005/8/layout/vList2"/>
    <dgm:cxn modelId="{90E093D8-59A8-430F-8F48-A0F816F95718}" srcId="{0E193733-CF77-4DDD-8488-3B4B51673823}" destId="{E629E1DA-4134-4482-AB55-9416FD6511B4}" srcOrd="2" destOrd="0" parTransId="{0318B129-E57E-4C86-BF71-566958AF8726}" sibTransId="{68AE95F5-266C-4150-A2D4-F8D08380EE02}"/>
    <dgm:cxn modelId="{9139F0D8-5360-4C35-94E6-8EA5060F4D14}" type="presOf" srcId="{844520E1-0C3E-4842-AF3A-7768329EBA48}" destId="{94128BDE-7D87-4CCF-8960-9A311CDF08B7}" srcOrd="0" destOrd="5" presId="urn:microsoft.com/office/officeart/2005/8/layout/vList2"/>
    <dgm:cxn modelId="{FE94B6B7-D61F-40E0-86D2-18ED79CA3A15}" type="presParOf" srcId="{476AFD78-009D-4D31-8A15-EFA5BA61D0EF}" destId="{882386B5-9221-4CEA-A2A8-571F19FD5725}" srcOrd="0" destOrd="0" presId="urn:microsoft.com/office/officeart/2005/8/layout/vList2"/>
    <dgm:cxn modelId="{B373821F-AD62-4003-9FA6-C315419BAF6F}" type="presParOf" srcId="{476AFD78-009D-4D31-8A15-EFA5BA61D0EF}" destId="{94128BDE-7D87-4CCF-8960-9A311CDF08B7}" srcOrd="1" destOrd="0" presId="urn:microsoft.com/office/officeart/2005/8/layout/vList2"/>
    <dgm:cxn modelId="{E0CE20C7-33B9-4D09-9247-A095B836E9BC}" type="presParOf" srcId="{476AFD78-009D-4D31-8A15-EFA5BA61D0EF}" destId="{48C6918F-7AC7-44A9-BDA1-5E21652BD07B}" srcOrd="2" destOrd="0" presId="urn:microsoft.com/office/officeart/2005/8/layout/vList2"/>
    <dgm:cxn modelId="{9C1FB76F-23B3-44CC-A99C-7E9A57988428}" type="presParOf" srcId="{476AFD78-009D-4D31-8A15-EFA5BA61D0EF}" destId="{1CF28688-8484-4C61-A56F-FC717BFA91EE}" srcOrd="3" destOrd="0" presId="urn:microsoft.com/office/officeart/2005/8/layout/vList2"/>
    <dgm:cxn modelId="{C3D859B2-9273-4C48-9E68-C3751C647693}" type="presParOf" srcId="{476AFD78-009D-4D31-8A15-EFA5BA61D0EF}" destId="{876DEE41-45A7-4DC2-ADCF-D5E0DAAD12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0FE6204-15EB-40FE-A947-DBBDA8C68323}">
      <dgm:prSet/>
      <dgm:spPr/>
      <dgm:t>
        <a:bodyPr/>
        <a:lstStyle/>
        <a:p>
          <a:r>
            <a:rPr lang="en-US"/>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dgm:spPr/>
      <dgm:t>
        <a:bodyPr/>
        <a:lstStyle/>
        <a:p>
          <a:r>
            <a:rPr lang="en-US"/>
            <a:t>Understand the business context of the challenge</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dgm:spPr/>
      <dgm:t>
        <a:bodyPr/>
        <a:lstStyle/>
        <a:p>
          <a:r>
            <a:rPr lang="en-US"/>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AF845B5E-AF5E-4F22-B3E2-9FAD46F2394B}">
      <dgm:prSet/>
      <dgm:spPr/>
      <dgm:t>
        <a:bodyPr/>
        <a:lstStyle/>
        <a:p>
          <a:r>
            <a:rPr lang="en-US"/>
            <a:t>Business owner write a short summary of project goals for the IT team. </a:t>
          </a:r>
        </a:p>
      </dgm:t>
    </dgm:pt>
    <dgm:pt modelId="{6C27274D-4DF9-4398-8D3A-212151532418}" type="parTrans" cxnId="{EEFC84C1-7D8C-42C3-9BEB-1D65736175D1}">
      <dgm:prSet/>
      <dgm:spPr/>
      <dgm:t>
        <a:bodyPr/>
        <a:lstStyle/>
        <a:p>
          <a:endParaRPr lang="en-US"/>
        </a:p>
      </dgm:t>
    </dgm:pt>
    <dgm:pt modelId="{4450970C-E43A-4784-B21E-04147F82D53F}" type="sibTrans" cxnId="{EEFC84C1-7D8C-42C3-9BEB-1D65736175D1}">
      <dgm:prSet/>
      <dgm:spPr/>
      <dgm:t>
        <a:bodyPr/>
        <a:lstStyle/>
        <a:p>
          <a:endParaRPr lang="en-US"/>
        </a:p>
      </dgm:t>
    </dgm:pt>
    <dgm:pt modelId="{3F1E47D6-442B-4E68-9F45-2ECB21EF056B}">
      <dgm:prSet/>
      <dgm:spPr/>
      <dgm:t>
        <a:bodyPr/>
        <a:lstStyle/>
        <a:p>
          <a:r>
            <a:rPr lang="en-US"/>
            <a:t>Define high level expectations of the project </a:t>
          </a:r>
        </a:p>
      </dgm:t>
    </dgm:pt>
    <dgm:pt modelId="{D7362B6A-8CBA-43D4-9242-3D0769901BA8}" type="sibTrans" cxnId="{7B457BA1-F50A-4089-9206-4C098E88FCD5}">
      <dgm:prSet/>
      <dgm:spPr/>
      <dgm:t>
        <a:bodyPr/>
        <a:lstStyle/>
        <a:p>
          <a:endParaRPr lang="en-US"/>
        </a:p>
      </dgm:t>
    </dgm:pt>
    <dgm:pt modelId="{55FFC406-CA84-4A67-AB23-915EF04869DA}" type="parTrans" cxnId="{7B457BA1-F50A-4089-9206-4C098E88FCD5}">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2276" custLinFactNeighborY="-11852">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67934B1D-764B-4C7E-8D09-B0319C048CE1}" srcId="{F0FE6204-15EB-40FE-A947-DBBDA8C68323}" destId="{0B4AE8E0-89FC-4A65-ADDB-E7A2F5EB4350}" srcOrd="0" destOrd="0" parTransId="{BB6DB04C-6258-4225-B58E-B25F07862934}" sibTransId="{CF111F12-A327-4010-8A7D-60E52D46B18A}"/>
    <dgm:cxn modelId="{5DA87649-7F55-4C9F-B0C8-7EE0914B9ECA}"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E231DF92-8804-4B37-B720-482B4DD18705}" type="presOf" srcId="{3F1E47D6-442B-4E68-9F45-2ECB21EF056B}" destId="{94956B5E-BDEC-47F5-AFE4-E81AB0346516}" srcOrd="0" destOrd="1" presId="urn:microsoft.com/office/officeart/2005/8/layout/vList2"/>
    <dgm:cxn modelId="{6525339B-7784-44D4-ABE8-B5D13F02A666}" type="presOf" srcId="{F0FE6204-15EB-40FE-A947-DBBDA8C68323}" destId="{9425ABFE-EED6-4A98-A81B-C9BB6DB54DF8}"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EEFC84C1-7D8C-42C3-9BEB-1D65736175D1}" srcId="{7E70ED50-DC4D-4890-9B3C-A5D7E606C307}" destId="{AF845B5E-AF5E-4F22-B3E2-9FAD46F2394B}" srcOrd="0" destOrd="0" parTransId="{6C27274D-4DF9-4398-8D3A-212151532418}" sibTransId="{4450970C-E43A-4784-B21E-04147F82D53F}"/>
    <dgm:cxn modelId="{624430D9-BA05-4B7B-9D9D-03C4B1906465}" type="presOf" srcId="{AF845B5E-AF5E-4F22-B3E2-9FAD46F2394B}" destId="{E3B3C964-BADA-4CCB-ACCE-EE22C74B7882}"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378067F0-94C0-42DC-AC2E-5CA49F1790EF}" type="presOf" srcId="{7E70ED50-DC4D-4890-9B3C-A5D7E606C307}" destId="{EC49DBC5-3138-4374-90B1-8A25DEC23D08}" srcOrd="0" destOrd="0" presId="urn:microsoft.com/office/officeart/2005/8/layout/vList2"/>
    <dgm:cxn modelId="{A6FC55AF-7736-4094-BC7C-F27D4BB8CCDF}" type="presParOf" srcId="{66109294-A1E2-4400-BC06-49C74BD2EDA4}" destId="{9425ABFE-EED6-4A98-A81B-C9BB6DB54DF8}" srcOrd="0" destOrd="0" presId="urn:microsoft.com/office/officeart/2005/8/layout/vList2"/>
    <dgm:cxn modelId="{81D78CC7-520F-4B33-9A2B-69E3CAE59BD5}" type="presParOf" srcId="{66109294-A1E2-4400-BC06-49C74BD2EDA4}" destId="{94956B5E-BDEC-47F5-AFE4-E81AB0346516}" srcOrd="1" destOrd="0" presId="urn:microsoft.com/office/officeart/2005/8/layout/vList2"/>
    <dgm:cxn modelId="{C135DFB9-995E-4720-9946-3913FFFCBBE7}" type="presParOf" srcId="{66109294-A1E2-4400-BC06-49C74BD2EDA4}" destId="{EC49DBC5-3138-4374-90B1-8A25DEC23D08}" srcOrd="2" destOrd="0" presId="urn:microsoft.com/office/officeart/2005/8/layout/vList2"/>
    <dgm:cxn modelId="{9DAE433F-2B68-4216-BF5C-5DBC58BD4547}"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F22755-C89B-4804-9B27-F1BC3ADF4971}" type="doc">
      <dgm:prSet loTypeId="urn:microsoft.com/office/officeart/2005/8/layout/vList4" loCatId="list" qsTypeId="urn:microsoft.com/office/officeart/2005/8/quickstyle/simple5" qsCatId="simple" csTypeId="urn:microsoft.com/office/officeart/2005/8/colors/accent3_2" csCatId="accent3" phldr="1"/>
      <dgm:spPr/>
      <dgm:t>
        <a:bodyPr/>
        <a:lstStyle/>
        <a:p>
          <a:endParaRPr lang="en-US"/>
        </a:p>
      </dgm:t>
    </dgm:pt>
    <dgm:pt modelId="{8662FC13-E13A-4C76-89D4-254EF62F9146}">
      <dgm:prSet custT="1"/>
      <dgm:spPr/>
      <dgm:t>
        <a:bodyPr/>
        <a:lstStyle/>
        <a:p>
          <a:r>
            <a:rPr lang="en-US" sz="1800"/>
            <a:t>OCR</a:t>
          </a:r>
          <a:endParaRPr lang="en-US" sz="1800" dirty="0"/>
        </a:p>
      </dgm:t>
    </dgm:pt>
    <dgm:pt modelId="{54600F05-24D9-4B2B-BE7D-71354F546777}" type="parTrans" cxnId="{727B685B-0B48-4047-A04A-187D4F5E41F6}">
      <dgm:prSet/>
      <dgm:spPr/>
      <dgm:t>
        <a:bodyPr/>
        <a:lstStyle/>
        <a:p>
          <a:endParaRPr lang="en-US" sz="2000"/>
        </a:p>
      </dgm:t>
    </dgm:pt>
    <dgm:pt modelId="{00F553E8-F1EF-4738-A909-E861D268D3E1}" type="sibTrans" cxnId="{727B685B-0B48-4047-A04A-187D4F5E41F6}">
      <dgm:prSet/>
      <dgm:spPr/>
      <dgm:t>
        <a:bodyPr/>
        <a:lstStyle/>
        <a:p>
          <a:endParaRPr lang="en-US" sz="2000"/>
        </a:p>
      </dgm:t>
    </dgm:pt>
    <dgm:pt modelId="{6B829EA8-554C-467A-AC23-94533CF9726A}">
      <dgm:prSet custT="1"/>
      <dgm:spPr/>
      <dgm:t>
        <a:bodyPr/>
        <a:lstStyle/>
        <a:p>
          <a:r>
            <a:rPr lang="en-US" sz="1600"/>
            <a:t>Image Analysis</a:t>
          </a:r>
          <a:endParaRPr lang="en-US" sz="1600" dirty="0"/>
        </a:p>
      </dgm:t>
    </dgm:pt>
    <dgm:pt modelId="{17CA94F4-B9AB-4BEF-9B5B-69EA72329ACA}" type="parTrans" cxnId="{537FFA82-F759-4183-94E5-93C0E74B53C0}">
      <dgm:prSet/>
      <dgm:spPr/>
      <dgm:t>
        <a:bodyPr/>
        <a:lstStyle/>
        <a:p>
          <a:endParaRPr lang="en-US" sz="2000"/>
        </a:p>
      </dgm:t>
    </dgm:pt>
    <dgm:pt modelId="{F04487F7-EA67-4730-B6DA-211D3F1F577F}" type="sibTrans" cxnId="{537FFA82-F759-4183-94E5-93C0E74B53C0}">
      <dgm:prSet/>
      <dgm:spPr/>
      <dgm:t>
        <a:bodyPr/>
        <a:lstStyle/>
        <a:p>
          <a:endParaRPr lang="en-US" sz="2000"/>
        </a:p>
      </dgm:t>
    </dgm:pt>
    <dgm:pt modelId="{7AB2D34F-89F2-45B3-AC5D-E0EE8310BCD4}">
      <dgm:prSet custT="1"/>
      <dgm:spPr/>
      <dgm:t>
        <a:bodyPr/>
        <a:lstStyle/>
        <a:p>
          <a:r>
            <a:rPr lang="en-US" sz="1400"/>
            <a:t>Extract printed or handwritten text from images, such as photos of street signs and products, as well as from documents—invoices, bills, financial reports, articles, and mor</a:t>
          </a:r>
          <a:endParaRPr lang="en-US" sz="1400" dirty="0"/>
        </a:p>
      </dgm:t>
    </dgm:pt>
    <dgm:pt modelId="{034A4CBC-C6E6-410A-AE21-51731F034819}" type="parTrans" cxnId="{E5A5A1C8-2284-4443-B2D0-21BA8B87EAEC}">
      <dgm:prSet/>
      <dgm:spPr/>
      <dgm:t>
        <a:bodyPr/>
        <a:lstStyle/>
        <a:p>
          <a:endParaRPr lang="en-US" sz="2000"/>
        </a:p>
      </dgm:t>
    </dgm:pt>
    <dgm:pt modelId="{8B080C0A-19F0-41D9-95BF-486078D7A3E9}" type="sibTrans" cxnId="{E5A5A1C8-2284-4443-B2D0-21BA8B87EAEC}">
      <dgm:prSet/>
      <dgm:spPr/>
      <dgm:t>
        <a:bodyPr/>
        <a:lstStyle/>
        <a:p>
          <a:endParaRPr lang="en-US" sz="2000"/>
        </a:p>
      </dgm:t>
    </dgm:pt>
    <dgm:pt modelId="{137F0B56-8F72-4F43-8D27-47CAEC3D53EE}">
      <dgm:prSet custT="1"/>
      <dgm:spPr/>
      <dgm:t>
        <a:bodyPr/>
        <a:lstStyle/>
        <a:p>
          <a:r>
            <a:rPr lang="en-US" sz="1400"/>
            <a:t>REST</a:t>
          </a:r>
          <a:endParaRPr lang="en-US" sz="1400" dirty="0"/>
        </a:p>
      </dgm:t>
    </dgm:pt>
    <dgm:pt modelId="{C935EF30-5ACD-40AC-908C-18E1BC8885DD}" type="parTrans" cxnId="{FC910F43-B803-4B4B-BB80-3A0753734DE5}">
      <dgm:prSet/>
      <dgm:spPr/>
      <dgm:t>
        <a:bodyPr/>
        <a:lstStyle/>
        <a:p>
          <a:endParaRPr lang="en-US" sz="2000"/>
        </a:p>
      </dgm:t>
    </dgm:pt>
    <dgm:pt modelId="{E530BFE4-8A34-4D5C-88A1-B2CE699DF29E}" type="sibTrans" cxnId="{FC910F43-B803-4B4B-BB80-3A0753734DE5}">
      <dgm:prSet/>
      <dgm:spPr/>
      <dgm:t>
        <a:bodyPr/>
        <a:lstStyle/>
        <a:p>
          <a:endParaRPr lang="en-US" sz="2000"/>
        </a:p>
      </dgm:t>
    </dgm:pt>
    <dgm:pt modelId="{253FAF07-BF60-46D0-BAD2-50F03F7BC92D}">
      <dgm:prSet custT="1"/>
      <dgm:spPr/>
      <dgm:t>
        <a:bodyPr/>
        <a:lstStyle/>
        <a:p>
          <a:r>
            <a:rPr lang="en-US" sz="1400"/>
            <a:t>Extract a wide variety of visual features from your images. For example, it can determine whether an image contains adult content, find specific brands or objects, or find human faces</a:t>
          </a:r>
          <a:endParaRPr lang="en-US" sz="1400" dirty="0"/>
        </a:p>
      </dgm:t>
    </dgm:pt>
    <dgm:pt modelId="{11FAD1BE-C029-4DB1-B1C6-D973B6EC55F0}" type="parTrans" cxnId="{10F8F72C-39E7-4C8E-B371-FC1B17454580}">
      <dgm:prSet/>
      <dgm:spPr/>
      <dgm:t>
        <a:bodyPr/>
        <a:lstStyle/>
        <a:p>
          <a:endParaRPr lang="en-US" sz="2000"/>
        </a:p>
      </dgm:t>
    </dgm:pt>
    <dgm:pt modelId="{5828924B-8997-4E5B-BBB6-85D71A4D960D}" type="sibTrans" cxnId="{10F8F72C-39E7-4C8E-B371-FC1B17454580}">
      <dgm:prSet/>
      <dgm:spPr/>
      <dgm:t>
        <a:bodyPr/>
        <a:lstStyle/>
        <a:p>
          <a:endParaRPr lang="en-US" sz="2000"/>
        </a:p>
      </dgm:t>
    </dgm:pt>
    <dgm:pt modelId="{865751E3-8A73-42E2-9637-A767404C7661}">
      <dgm:prSet custT="1"/>
      <dgm:spPr/>
      <dgm:t>
        <a:bodyPr/>
        <a:lstStyle/>
        <a:p>
          <a:r>
            <a:rPr lang="en-US" sz="1400"/>
            <a:t>SDK + REST</a:t>
          </a:r>
          <a:endParaRPr lang="en-US" sz="1400" dirty="0"/>
        </a:p>
      </dgm:t>
    </dgm:pt>
    <dgm:pt modelId="{BC889ACF-DF18-44E6-9AA1-D7A217F6D9C2}" type="parTrans" cxnId="{A7D88A1C-5539-4578-849F-261EEBAD42F3}">
      <dgm:prSet/>
      <dgm:spPr/>
      <dgm:t>
        <a:bodyPr/>
        <a:lstStyle/>
        <a:p>
          <a:endParaRPr lang="en-US" sz="2000"/>
        </a:p>
      </dgm:t>
    </dgm:pt>
    <dgm:pt modelId="{FBDF3B37-1E65-43F8-B78F-34748626DE06}" type="sibTrans" cxnId="{A7D88A1C-5539-4578-849F-261EEBAD42F3}">
      <dgm:prSet/>
      <dgm:spPr/>
      <dgm:t>
        <a:bodyPr/>
        <a:lstStyle/>
        <a:p>
          <a:endParaRPr lang="en-US" sz="2000"/>
        </a:p>
      </dgm:t>
    </dgm:pt>
    <dgm:pt modelId="{DC470404-0D8C-48D1-98F1-11740F909BF6}" type="pres">
      <dgm:prSet presAssocID="{CEF22755-C89B-4804-9B27-F1BC3ADF4971}" presName="linear" presStyleCnt="0">
        <dgm:presLayoutVars>
          <dgm:dir/>
          <dgm:resizeHandles val="exact"/>
        </dgm:presLayoutVars>
      </dgm:prSet>
      <dgm:spPr/>
    </dgm:pt>
    <dgm:pt modelId="{73DB7FEA-567F-4F22-8958-EAC677327D7E}" type="pres">
      <dgm:prSet presAssocID="{8662FC13-E13A-4C76-89D4-254EF62F9146}" presName="comp" presStyleCnt="0"/>
      <dgm:spPr/>
    </dgm:pt>
    <dgm:pt modelId="{F9F53FAE-5248-4F34-98BE-07A9303FB799}" type="pres">
      <dgm:prSet presAssocID="{8662FC13-E13A-4C76-89D4-254EF62F9146}" presName="box" presStyleLbl="node1" presStyleIdx="0" presStyleCnt="2"/>
      <dgm:spPr/>
    </dgm:pt>
    <dgm:pt modelId="{5D473413-7824-4B43-B18D-EBA14B1BB726}" type="pres">
      <dgm:prSet presAssocID="{8662FC13-E13A-4C76-89D4-254EF62F9146}" presName="img" presStyleLbl="fgImgPlace1" presStyleIdx="0" presStyleCnt="2"/>
      <dgm:spPr>
        <a:blipFill rotWithShape="1">
          <a:blip xmlns:r="http://schemas.openxmlformats.org/officeDocument/2006/relationships" r:embed="rId1"/>
          <a:srcRect/>
          <a:stretch>
            <a:fillRect t="-45000" b="-45000"/>
          </a:stretch>
        </a:blipFill>
      </dgm:spPr>
    </dgm:pt>
    <dgm:pt modelId="{BD742C96-0244-4ACA-A2C5-2D3E482B773D}" type="pres">
      <dgm:prSet presAssocID="{8662FC13-E13A-4C76-89D4-254EF62F9146}" presName="text" presStyleLbl="node1" presStyleIdx="0" presStyleCnt="2">
        <dgm:presLayoutVars>
          <dgm:bulletEnabled val="1"/>
        </dgm:presLayoutVars>
      </dgm:prSet>
      <dgm:spPr/>
    </dgm:pt>
    <dgm:pt modelId="{746E018A-DBFE-4792-982F-5193EBEA08EE}" type="pres">
      <dgm:prSet presAssocID="{00F553E8-F1EF-4738-A909-E861D268D3E1}" presName="spacer" presStyleCnt="0"/>
      <dgm:spPr/>
    </dgm:pt>
    <dgm:pt modelId="{A19133E6-52AD-45AA-9D92-B2CCDD61649D}" type="pres">
      <dgm:prSet presAssocID="{6B829EA8-554C-467A-AC23-94533CF9726A}" presName="comp" presStyleCnt="0"/>
      <dgm:spPr/>
    </dgm:pt>
    <dgm:pt modelId="{6C014FD7-4592-4B1A-AA0A-F316F9A2E474}" type="pres">
      <dgm:prSet presAssocID="{6B829EA8-554C-467A-AC23-94533CF9726A}" presName="box" presStyleLbl="node1" presStyleIdx="1" presStyleCnt="2"/>
      <dgm:spPr/>
    </dgm:pt>
    <dgm:pt modelId="{11F378C6-EAF9-432A-8257-2D634B03EB7D}" type="pres">
      <dgm:prSet presAssocID="{6B829EA8-554C-467A-AC23-94533CF9726A}" presName="img" presStyleLbl="fgImgPlace1" presStyleIdx="1" presStyleCnt="2"/>
      <dgm:spPr>
        <a:blipFill rotWithShape="1">
          <a:blip xmlns:r="http://schemas.openxmlformats.org/officeDocument/2006/relationships" r:embed="rId2"/>
          <a:srcRect/>
          <a:stretch>
            <a:fillRect l="-18000" r="-18000"/>
          </a:stretch>
        </a:blipFill>
      </dgm:spPr>
    </dgm:pt>
    <dgm:pt modelId="{2A75A460-0DCF-40E5-AF9B-C2A8354C7C97}" type="pres">
      <dgm:prSet presAssocID="{6B829EA8-554C-467A-AC23-94533CF9726A}" presName="text" presStyleLbl="node1" presStyleIdx="1" presStyleCnt="2">
        <dgm:presLayoutVars>
          <dgm:bulletEnabled val="1"/>
        </dgm:presLayoutVars>
      </dgm:prSet>
      <dgm:spPr/>
    </dgm:pt>
  </dgm:ptLst>
  <dgm:cxnLst>
    <dgm:cxn modelId="{3BD08302-C108-4864-87F7-5FA1EA9141F3}" type="presOf" srcId="{865751E3-8A73-42E2-9637-A767404C7661}" destId="{BD742C96-0244-4ACA-A2C5-2D3E482B773D}" srcOrd="1" destOrd="2" presId="urn:microsoft.com/office/officeart/2005/8/layout/vList4"/>
    <dgm:cxn modelId="{EBE05519-933E-4CF5-A692-D825B643B22B}" type="presOf" srcId="{8662FC13-E13A-4C76-89D4-254EF62F9146}" destId="{F9F53FAE-5248-4F34-98BE-07A9303FB799}" srcOrd="0" destOrd="0" presId="urn:microsoft.com/office/officeart/2005/8/layout/vList4"/>
    <dgm:cxn modelId="{8A666E1A-42D0-4C0F-945C-2F434C96787B}" type="presOf" srcId="{137F0B56-8F72-4F43-8D27-47CAEC3D53EE}" destId="{6C014FD7-4592-4B1A-AA0A-F316F9A2E474}" srcOrd="0" destOrd="2" presId="urn:microsoft.com/office/officeart/2005/8/layout/vList4"/>
    <dgm:cxn modelId="{A7D88A1C-5539-4578-849F-261EEBAD42F3}" srcId="{8662FC13-E13A-4C76-89D4-254EF62F9146}" destId="{865751E3-8A73-42E2-9637-A767404C7661}" srcOrd="1" destOrd="0" parTransId="{BC889ACF-DF18-44E6-9AA1-D7A217F6D9C2}" sibTransId="{FBDF3B37-1E65-43F8-B78F-34748626DE06}"/>
    <dgm:cxn modelId="{74340324-B9FF-4029-8825-7568D1BDA635}" type="presOf" srcId="{137F0B56-8F72-4F43-8D27-47CAEC3D53EE}" destId="{2A75A460-0DCF-40E5-AF9B-C2A8354C7C97}" srcOrd="1" destOrd="2" presId="urn:microsoft.com/office/officeart/2005/8/layout/vList4"/>
    <dgm:cxn modelId="{10F8F72C-39E7-4C8E-B371-FC1B17454580}" srcId="{6B829EA8-554C-467A-AC23-94533CF9726A}" destId="{253FAF07-BF60-46D0-BAD2-50F03F7BC92D}" srcOrd="0" destOrd="0" parTransId="{11FAD1BE-C029-4DB1-B1C6-D973B6EC55F0}" sibTransId="{5828924B-8997-4E5B-BBB6-85D71A4D960D}"/>
    <dgm:cxn modelId="{0D139535-1216-4C41-A36C-C141ECA97AB8}" type="presOf" srcId="{CEF22755-C89B-4804-9B27-F1BC3ADF4971}" destId="{DC470404-0D8C-48D1-98F1-11740F909BF6}" srcOrd="0" destOrd="0" presId="urn:microsoft.com/office/officeart/2005/8/layout/vList4"/>
    <dgm:cxn modelId="{727B685B-0B48-4047-A04A-187D4F5E41F6}" srcId="{CEF22755-C89B-4804-9B27-F1BC3ADF4971}" destId="{8662FC13-E13A-4C76-89D4-254EF62F9146}" srcOrd="0" destOrd="0" parTransId="{54600F05-24D9-4B2B-BE7D-71354F546777}" sibTransId="{00F553E8-F1EF-4738-A909-E861D268D3E1}"/>
    <dgm:cxn modelId="{FC910F43-B803-4B4B-BB80-3A0753734DE5}" srcId="{6B829EA8-554C-467A-AC23-94533CF9726A}" destId="{137F0B56-8F72-4F43-8D27-47CAEC3D53EE}" srcOrd="1" destOrd="0" parTransId="{C935EF30-5ACD-40AC-908C-18E1BC8885DD}" sibTransId="{E530BFE4-8A34-4D5C-88A1-B2CE699DF29E}"/>
    <dgm:cxn modelId="{00FECC65-F6BB-4C6C-9778-B3BD05C04101}" type="presOf" srcId="{8662FC13-E13A-4C76-89D4-254EF62F9146}" destId="{BD742C96-0244-4ACA-A2C5-2D3E482B773D}" srcOrd="1" destOrd="0" presId="urn:microsoft.com/office/officeart/2005/8/layout/vList4"/>
    <dgm:cxn modelId="{1EE8A24F-1E5C-48AD-93FB-D0F399A57923}" type="presOf" srcId="{6B829EA8-554C-467A-AC23-94533CF9726A}" destId="{2A75A460-0DCF-40E5-AF9B-C2A8354C7C97}" srcOrd="1" destOrd="0" presId="urn:microsoft.com/office/officeart/2005/8/layout/vList4"/>
    <dgm:cxn modelId="{537FFA82-F759-4183-94E5-93C0E74B53C0}" srcId="{CEF22755-C89B-4804-9B27-F1BC3ADF4971}" destId="{6B829EA8-554C-467A-AC23-94533CF9726A}" srcOrd="1" destOrd="0" parTransId="{17CA94F4-B9AB-4BEF-9B5B-69EA72329ACA}" sibTransId="{F04487F7-EA67-4730-B6DA-211D3F1F577F}"/>
    <dgm:cxn modelId="{1D7DF183-267A-40F1-A73A-071DF175B70D}" type="presOf" srcId="{253FAF07-BF60-46D0-BAD2-50F03F7BC92D}" destId="{2A75A460-0DCF-40E5-AF9B-C2A8354C7C97}" srcOrd="1" destOrd="1" presId="urn:microsoft.com/office/officeart/2005/8/layout/vList4"/>
    <dgm:cxn modelId="{71B55897-8063-4B2E-A49D-C147569B9916}" type="presOf" srcId="{7AB2D34F-89F2-45B3-AC5D-E0EE8310BCD4}" destId="{BD742C96-0244-4ACA-A2C5-2D3E482B773D}" srcOrd="1" destOrd="1" presId="urn:microsoft.com/office/officeart/2005/8/layout/vList4"/>
    <dgm:cxn modelId="{900D93A5-C90E-403C-9B0D-D7600BDD6CF5}" type="presOf" srcId="{7AB2D34F-89F2-45B3-AC5D-E0EE8310BCD4}" destId="{F9F53FAE-5248-4F34-98BE-07A9303FB799}" srcOrd="0" destOrd="1" presId="urn:microsoft.com/office/officeart/2005/8/layout/vList4"/>
    <dgm:cxn modelId="{3B3463B5-81C5-4304-BA02-6C5668076A22}" type="presOf" srcId="{253FAF07-BF60-46D0-BAD2-50F03F7BC92D}" destId="{6C014FD7-4592-4B1A-AA0A-F316F9A2E474}" srcOrd="0" destOrd="1" presId="urn:microsoft.com/office/officeart/2005/8/layout/vList4"/>
    <dgm:cxn modelId="{AA1FC7C5-8AAA-4894-B879-B632AE45E74A}" type="presOf" srcId="{6B829EA8-554C-467A-AC23-94533CF9726A}" destId="{6C014FD7-4592-4B1A-AA0A-F316F9A2E474}" srcOrd="0" destOrd="0" presId="urn:microsoft.com/office/officeart/2005/8/layout/vList4"/>
    <dgm:cxn modelId="{E5A5A1C8-2284-4443-B2D0-21BA8B87EAEC}" srcId="{8662FC13-E13A-4C76-89D4-254EF62F9146}" destId="{7AB2D34F-89F2-45B3-AC5D-E0EE8310BCD4}" srcOrd="0" destOrd="0" parTransId="{034A4CBC-C6E6-410A-AE21-51731F034819}" sibTransId="{8B080C0A-19F0-41D9-95BF-486078D7A3E9}"/>
    <dgm:cxn modelId="{83C192E7-E06C-4B39-9AD2-5C7A671595F6}" type="presOf" srcId="{865751E3-8A73-42E2-9637-A767404C7661}" destId="{F9F53FAE-5248-4F34-98BE-07A9303FB799}" srcOrd="0" destOrd="2" presId="urn:microsoft.com/office/officeart/2005/8/layout/vList4"/>
    <dgm:cxn modelId="{518BE81D-1710-47E8-BE50-7D34E2E4827E}" type="presParOf" srcId="{DC470404-0D8C-48D1-98F1-11740F909BF6}" destId="{73DB7FEA-567F-4F22-8958-EAC677327D7E}" srcOrd="0" destOrd="0" presId="urn:microsoft.com/office/officeart/2005/8/layout/vList4"/>
    <dgm:cxn modelId="{DF289013-3FBD-4AEE-9A2E-54F13DC80698}" type="presParOf" srcId="{73DB7FEA-567F-4F22-8958-EAC677327D7E}" destId="{F9F53FAE-5248-4F34-98BE-07A9303FB799}" srcOrd="0" destOrd="0" presId="urn:microsoft.com/office/officeart/2005/8/layout/vList4"/>
    <dgm:cxn modelId="{66B63897-0EA4-4C65-8AC0-7CC2501BF252}" type="presParOf" srcId="{73DB7FEA-567F-4F22-8958-EAC677327D7E}" destId="{5D473413-7824-4B43-B18D-EBA14B1BB726}" srcOrd="1" destOrd="0" presId="urn:microsoft.com/office/officeart/2005/8/layout/vList4"/>
    <dgm:cxn modelId="{7045C2E6-17B8-4284-B020-72980E64984E}" type="presParOf" srcId="{73DB7FEA-567F-4F22-8958-EAC677327D7E}" destId="{BD742C96-0244-4ACA-A2C5-2D3E482B773D}" srcOrd="2" destOrd="0" presId="urn:microsoft.com/office/officeart/2005/8/layout/vList4"/>
    <dgm:cxn modelId="{DCAE3E7B-768A-4658-B2B0-72296DC1E66D}" type="presParOf" srcId="{DC470404-0D8C-48D1-98F1-11740F909BF6}" destId="{746E018A-DBFE-4792-982F-5193EBEA08EE}" srcOrd="1" destOrd="0" presId="urn:microsoft.com/office/officeart/2005/8/layout/vList4"/>
    <dgm:cxn modelId="{9D0571DA-28C5-4B0E-8C76-F66AEF90C1BC}" type="presParOf" srcId="{DC470404-0D8C-48D1-98F1-11740F909BF6}" destId="{A19133E6-52AD-45AA-9D92-B2CCDD61649D}" srcOrd="2" destOrd="0" presId="urn:microsoft.com/office/officeart/2005/8/layout/vList4"/>
    <dgm:cxn modelId="{D4A98B1D-8D3F-4F84-9E47-A9A974F09BCF}" type="presParOf" srcId="{A19133E6-52AD-45AA-9D92-B2CCDD61649D}" destId="{6C014FD7-4592-4B1A-AA0A-F316F9A2E474}" srcOrd="0" destOrd="0" presId="urn:microsoft.com/office/officeart/2005/8/layout/vList4"/>
    <dgm:cxn modelId="{E9E7A318-B1EC-43E2-98FF-8C774BC0E76B}" type="presParOf" srcId="{A19133E6-52AD-45AA-9D92-B2CCDD61649D}" destId="{11F378C6-EAF9-432A-8257-2D634B03EB7D}" srcOrd="1" destOrd="0" presId="urn:microsoft.com/office/officeart/2005/8/layout/vList4"/>
    <dgm:cxn modelId="{9D8BD645-2ADD-4999-9237-9719EA320DF6}" type="presParOf" srcId="{A19133E6-52AD-45AA-9D92-B2CCDD61649D}" destId="{2A75A460-0DCF-40E5-AF9B-C2A8354C7C97}"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E095529-512D-4DE9-8FCC-A983E3A2136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90B986D-B4CA-4320-84E4-B1991B24C36D}">
      <dgm:prSet/>
      <dgm:spPr>
        <a:solidFill>
          <a:schemeClr val="tx2"/>
        </a:solidFill>
      </dgm:spPr>
      <dgm:t>
        <a:bodyPr/>
        <a:lstStyle/>
        <a:p>
          <a:r>
            <a:rPr lang="en-US" dirty="0">
              <a:solidFill>
                <a:schemeClr val="bg1"/>
              </a:solidFill>
            </a:rPr>
            <a:t>Custom Models For:</a:t>
          </a:r>
        </a:p>
      </dgm:t>
    </dgm:pt>
    <dgm:pt modelId="{57E3722D-10CA-41F0-9D7E-59EEB6746428}" type="parTrans" cxnId="{E271974F-F938-4E0B-83ED-A1294ED70F13}">
      <dgm:prSet/>
      <dgm:spPr/>
      <dgm:t>
        <a:bodyPr/>
        <a:lstStyle/>
        <a:p>
          <a:endParaRPr lang="en-US"/>
        </a:p>
      </dgm:t>
    </dgm:pt>
    <dgm:pt modelId="{BF20CA6E-A230-46DC-B6DE-A9BF2A3872D2}" type="sibTrans" cxnId="{E271974F-F938-4E0B-83ED-A1294ED70F13}">
      <dgm:prSet/>
      <dgm:spPr/>
      <dgm:t>
        <a:bodyPr/>
        <a:lstStyle/>
        <a:p>
          <a:endParaRPr lang="en-US"/>
        </a:p>
      </dgm:t>
    </dgm:pt>
    <dgm:pt modelId="{7C3C8A3C-A939-4701-BC86-B18B556097E2}">
      <dgm:prSet/>
      <dgm:spPr/>
      <dgm:t>
        <a:bodyPr/>
        <a:lstStyle/>
        <a:p>
          <a:r>
            <a:rPr lang="en-US"/>
            <a:t>Image Classification</a:t>
          </a:r>
        </a:p>
      </dgm:t>
    </dgm:pt>
    <dgm:pt modelId="{65CFD90F-E784-4A83-8A08-181367E56014}" type="parTrans" cxnId="{7D6EE390-5A87-4635-BBEE-8C0306CADA81}">
      <dgm:prSet/>
      <dgm:spPr/>
      <dgm:t>
        <a:bodyPr/>
        <a:lstStyle/>
        <a:p>
          <a:endParaRPr lang="en-US"/>
        </a:p>
      </dgm:t>
    </dgm:pt>
    <dgm:pt modelId="{50B94C9A-0477-4D4E-8265-74F152EF85EB}" type="sibTrans" cxnId="{7D6EE390-5A87-4635-BBEE-8C0306CADA81}">
      <dgm:prSet/>
      <dgm:spPr/>
      <dgm:t>
        <a:bodyPr/>
        <a:lstStyle/>
        <a:p>
          <a:endParaRPr lang="en-US"/>
        </a:p>
      </dgm:t>
    </dgm:pt>
    <dgm:pt modelId="{3DFF9D41-AA9F-4927-A1B2-BD5E1187528A}">
      <dgm:prSet/>
      <dgm:spPr/>
      <dgm:t>
        <a:bodyPr/>
        <a:lstStyle/>
        <a:p>
          <a:r>
            <a:rPr lang="en-US"/>
            <a:t>Object Detection</a:t>
          </a:r>
        </a:p>
      </dgm:t>
    </dgm:pt>
    <dgm:pt modelId="{5DB762A7-768B-4E59-9F78-EB8675E31C97}" type="parTrans" cxnId="{C0609DEE-434A-43EF-A16D-EE4226B22F81}">
      <dgm:prSet/>
      <dgm:spPr/>
      <dgm:t>
        <a:bodyPr/>
        <a:lstStyle/>
        <a:p>
          <a:endParaRPr lang="en-US"/>
        </a:p>
      </dgm:t>
    </dgm:pt>
    <dgm:pt modelId="{2253B585-D264-4ECE-91A7-D8D0944CEFC1}" type="sibTrans" cxnId="{C0609DEE-434A-43EF-A16D-EE4226B22F81}">
      <dgm:prSet/>
      <dgm:spPr/>
      <dgm:t>
        <a:bodyPr/>
        <a:lstStyle/>
        <a:p>
          <a:endParaRPr lang="en-US"/>
        </a:p>
      </dgm:t>
    </dgm:pt>
    <dgm:pt modelId="{DE99692E-4E17-4A60-9BED-4BFFC08A51F2}" type="pres">
      <dgm:prSet presAssocID="{9E095529-512D-4DE9-8FCC-A983E3A2136D}" presName="linear" presStyleCnt="0">
        <dgm:presLayoutVars>
          <dgm:dir/>
          <dgm:animLvl val="lvl"/>
          <dgm:resizeHandles val="exact"/>
        </dgm:presLayoutVars>
      </dgm:prSet>
      <dgm:spPr/>
    </dgm:pt>
    <dgm:pt modelId="{14D19A0E-58F3-43D4-8DE3-DA51F1C1F706}" type="pres">
      <dgm:prSet presAssocID="{590B986D-B4CA-4320-84E4-B1991B24C36D}" presName="parentLin" presStyleCnt="0"/>
      <dgm:spPr/>
    </dgm:pt>
    <dgm:pt modelId="{EBA07062-7F32-4FE3-8BA5-B0239277863A}" type="pres">
      <dgm:prSet presAssocID="{590B986D-B4CA-4320-84E4-B1991B24C36D}" presName="parentLeftMargin" presStyleLbl="node1" presStyleIdx="0" presStyleCnt="1"/>
      <dgm:spPr/>
    </dgm:pt>
    <dgm:pt modelId="{9C699EB7-EF88-4458-8780-8EF784C85A58}" type="pres">
      <dgm:prSet presAssocID="{590B986D-B4CA-4320-84E4-B1991B24C36D}" presName="parentText" presStyleLbl="node1" presStyleIdx="0" presStyleCnt="1">
        <dgm:presLayoutVars>
          <dgm:chMax val="0"/>
          <dgm:bulletEnabled val="1"/>
        </dgm:presLayoutVars>
      </dgm:prSet>
      <dgm:spPr/>
    </dgm:pt>
    <dgm:pt modelId="{4FEC2D6E-18CD-47D0-B441-7DD0EA7764BA}" type="pres">
      <dgm:prSet presAssocID="{590B986D-B4CA-4320-84E4-B1991B24C36D}" presName="negativeSpace" presStyleCnt="0"/>
      <dgm:spPr/>
    </dgm:pt>
    <dgm:pt modelId="{63787B05-B60E-432B-954A-BD5DF620B437}" type="pres">
      <dgm:prSet presAssocID="{590B986D-B4CA-4320-84E4-B1991B24C36D}" presName="childText" presStyleLbl="conFgAcc1" presStyleIdx="0" presStyleCnt="1">
        <dgm:presLayoutVars>
          <dgm:bulletEnabled val="1"/>
        </dgm:presLayoutVars>
      </dgm:prSet>
      <dgm:spPr/>
    </dgm:pt>
  </dgm:ptLst>
  <dgm:cxnLst>
    <dgm:cxn modelId="{68475244-480F-4900-9EBD-24515E56DF5D}" type="presOf" srcId="{7C3C8A3C-A939-4701-BC86-B18B556097E2}" destId="{63787B05-B60E-432B-954A-BD5DF620B437}" srcOrd="0" destOrd="0" presId="urn:microsoft.com/office/officeart/2005/8/layout/list1"/>
    <dgm:cxn modelId="{E271974F-F938-4E0B-83ED-A1294ED70F13}" srcId="{9E095529-512D-4DE9-8FCC-A983E3A2136D}" destId="{590B986D-B4CA-4320-84E4-B1991B24C36D}" srcOrd="0" destOrd="0" parTransId="{57E3722D-10CA-41F0-9D7E-59EEB6746428}" sibTransId="{BF20CA6E-A230-46DC-B6DE-A9BF2A3872D2}"/>
    <dgm:cxn modelId="{4BA1F075-ECE4-480E-9222-43E46771FC91}" type="presOf" srcId="{590B986D-B4CA-4320-84E4-B1991B24C36D}" destId="{EBA07062-7F32-4FE3-8BA5-B0239277863A}" srcOrd="0" destOrd="0" presId="urn:microsoft.com/office/officeart/2005/8/layout/list1"/>
    <dgm:cxn modelId="{6868018E-BDAE-41E4-83A8-21FF14751440}" type="presOf" srcId="{3DFF9D41-AA9F-4927-A1B2-BD5E1187528A}" destId="{63787B05-B60E-432B-954A-BD5DF620B437}" srcOrd="0" destOrd="1" presId="urn:microsoft.com/office/officeart/2005/8/layout/list1"/>
    <dgm:cxn modelId="{7D6EE390-5A87-4635-BBEE-8C0306CADA81}" srcId="{590B986D-B4CA-4320-84E4-B1991B24C36D}" destId="{7C3C8A3C-A939-4701-BC86-B18B556097E2}" srcOrd="0" destOrd="0" parTransId="{65CFD90F-E784-4A83-8A08-181367E56014}" sibTransId="{50B94C9A-0477-4D4E-8265-74F152EF85EB}"/>
    <dgm:cxn modelId="{56F25FC4-3B2A-4E42-BFB6-80634B8E6DCC}" type="presOf" srcId="{9E095529-512D-4DE9-8FCC-A983E3A2136D}" destId="{DE99692E-4E17-4A60-9BED-4BFFC08A51F2}" srcOrd="0" destOrd="0" presId="urn:microsoft.com/office/officeart/2005/8/layout/list1"/>
    <dgm:cxn modelId="{71AD34C5-4FE0-4D14-A234-659C396CBE1B}" type="presOf" srcId="{590B986D-B4CA-4320-84E4-B1991B24C36D}" destId="{9C699EB7-EF88-4458-8780-8EF784C85A58}" srcOrd="1" destOrd="0" presId="urn:microsoft.com/office/officeart/2005/8/layout/list1"/>
    <dgm:cxn modelId="{C0609DEE-434A-43EF-A16D-EE4226B22F81}" srcId="{590B986D-B4CA-4320-84E4-B1991B24C36D}" destId="{3DFF9D41-AA9F-4927-A1B2-BD5E1187528A}" srcOrd="1" destOrd="0" parTransId="{5DB762A7-768B-4E59-9F78-EB8675E31C97}" sibTransId="{2253B585-D264-4ECE-91A7-D8D0944CEFC1}"/>
    <dgm:cxn modelId="{E5B35AD1-EDCC-4489-904C-3D65B69BF21B}" type="presParOf" srcId="{DE99692E-4E17-4A60-9BED-4BFFC08A51F2}" destId="{14D19A0E-58F3-43D4-8DE3-DA51F1C1F706}" srcOrd="0" destOrd="0" presId="urn:microsoft.com/office/officeart/2005/8/layout/list1"/>
    <dgm:cxn modelId="{83E97CE6-692A-4597-B965-FF3C3A45F013}" type="presParOf" srcId="{14D19A0E-58F3-43D4-8DE3-DA51F1C1F706}" destId="{EBA07062-7F32-4FE3-8BA5-B0239277863A}" srcOrd="0" destOrd="0" presId="urn:microsoft.com/office/officeart/2005/8/layout/list1"/>
    <dgm:cxn modelId="{3B8CC0BF-670A-4D88-8FA8-043D669A0B80}" type="presParOf" srcId="{14D19A0E-58F3-43D4-8DE3-DA51F1C1F706}" destId="{9C699EB7-EF88-4458-8780-8EF784C85A58}" srcOrd="1" destOrd="0" presId="urn:microsoft.com/office/officeart/2005/8/layout/list1"/>
    <dgm:cxn modelId="{00FA1652-0ADA-4895-8AEF-73D5700C01DC}" type="presParOf" srcId="{DE99692E-4E17-4A60-9BED-4BFFC08A51F2}" destId="{4FEC2D6E-18CD-47D0-B441-7DD0EA7764BA}" srcOrd="1" destOrd="0" presId="urn:microsoft.com/office/officeart/2005/8/layout/list1"/>
    <dgm:cxn modelId="{F87FC85F-FD80-4BB2-B5ED-3CB4A0849C47}" type="presParOf" srcId="{DE99692E-4E17-4A60-9BED-4BFFC08A51F2}" destId="{63787B05-B60E-432B-954A-BD5DF620B437}" srcOrd="2"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a:t>Train custom vision</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D0D76897-B232-41DB-B1C8-3D0D2D1643E8}">
      <dgm:prSet custT="1"/>
      <dgm:spPr/>
      <dgm:t>
        <a:bodyPr/>
        <a:lstStyle/>
        <a:p>
          <a:r>
            <a:rPr lang="en-US" sz="1400" dirty="0"/>
            <a:t>Custom Model</a:t>
          </a:r>
        </a:p>
      </dgm:t>
    </dgm:pt>
    <dgm:pt modelId="{12EAC9C2-7640-4082-9AF5-E11609E797DE}" type="parTrans" cxnId="{26CDA1E5-263E-4F18-AE13-C86CB1C2AB8A}">
      <dgm:prSet/>
      <dgm:spPr/>
      <dgm:t>
        <a:bodyPr/>
        <a:lstStyle/>
        <a:p>
          <a:endParaRPr lang="en-US"/>
        </a:p>
      </dgm:t>
    </dgm:pt>
    <dgm:pt modelId="{B765D0C1-1619-4865-8C6E-4D3D3F359CDF}" type="sibTrans" cxnId="{26CDA1E5-263E-4F18-AE13-C86CB1C2AB8A}">
      <dgm:prSet/>
      <dgm:spPr/>
      <dgm:t>
        <a:bodyPr/>
        <a:lstStyle/>
        <a:p>
          <a:endParaRPr lang="en-US"/>
        </a:p>
      </dgm:t>
    </dgm:pt>
    <dgm:pt modelId="{2270F424-D969-4031-879F-34DBDA2F53EE}">
      <dgm:prSet custT="1"/>
      <dgm:spPr/>
      <dgm:t>
        <a:bodyPr/>
        <a:lstStyle/>
        <a:p>
          <a:r>
            <a:rPr lang="en-US" sz="1400" dirty="0"/>
            <a:t>Train Forms recognizer model </a:t>
          </a:r>
        </a:p>
      </dgm:t>
    </dgm:pt>
    <dgm:pt modelId="{6CC1DB25-0320-4907-88AC-0BEE4F41AC1A}" type="parTrans" cxnId="{877D5F4F-450B-4D22-9939-8C35C71612B0}">
      <dgm:prSet/>
      <dgm:spPr/>
      <dgm:t>
        <a:bodyPr/>
        <a:lstStyle/>
        <a:p>
          <a:endParaRPr lang="en-US"/>
        </a:p>
      </dgm:t>
    </dgm:pt>
    <dgm:pt modelId="{A823A4B7-E678-4E1D-B41B-A0A02053D322}" type="sibTrans" cxnId="{877D5F4F-450B-4D22-9939-8C35C71612B0}">
      <dgm:prSet/>
      <dgm:spPr/>
      <dgm:t>
        <a:bodyPr/>
        <a:lstStyle/>
        <a:p>
          <a:endParaRPr lang="en-US"/>
        </a:p>
      </dgm:t>
    </dgm:pt>
    <dgm:pt modelId="{822E20C3-1A43-4559-B551-9832CAF26778}">
      <dgm:prSet custT="1"/>
      <dgm:spPr/>
      <dgm:t>
        <a:bodyPr/>
        <a:lstStyle/>
        <a:p>
          <a:r>
            <a:rPr lang="en-US" sz="1400"/>
            <a:t>Understanding of out of the box AI model</a:t>
          </a:r>
          <a:endParaRPr lang="en-US" sz="1400" dirty="0"/>
        </a:p>
      </dgm:t>
    </dgm:pt>
    <dgm:pt modelId="{66946CAE-1EBF-40EE-95F3-1A8F111D0754}" type="parTrans" cxnId="{9C58DC0F-2C30-49EE-A496-8C047856C317}">
      <dgm:prSet/>
      <dgm:spPr/>
      <dgm:t>
        <a:bodyPr/>
        <a:lstStyle/>
        <a:p>
          <a:endParaRPr lang="en-US"/>
        </a:p>
      </dgm:t>
    </dgm:pt>
    <dgm:pt modelId="{FDE28D56-7441-4E14-AD09-FB1288C586C6}" type="sibTrans" cxnId="{9C58DC0F-2C30-49EE-A496-8C047856C317}">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Y="-9166">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9C58DC0F-2C30-49EE-A496-8C047856C317}" srcId="{7E70ED50-DC4D-4890-9B3C-A5D7E606C307}" destId="{822E20C3-1A43-4559-B551-9832CAF26778}" srcOrd="1" destOrd="0" parTransId="{66946CAE-1EBF-40EE-95F3-1A8F111D0754}" sibTransId="{FDE28D56-7441-4E14-AD09-FB1288C586C6}"/>
    <dgm:cxn modelId="{67934B1D-764B-4C7E-8D09-B0319C048CE1}" srcId="{F0FE6204-15EB-40FE-A947-DBBDA8C68323}" destId="{0B4AE8E0-89FC-4A65-ADDB-E7A2F5EB4350}" srcOrd="0" destOrd="0" parTransId="{BB6DB04C-6258-4225-B58E-B25F07862934}" sibTransId="{CF111F12-A327-4010-8A7D-60E52D46B18A}"/>
    <dgm:cxn modelId="{BEE0FE2A-0536-479D-8AF6-442A1228839C}" type="presOf" srcId="{D0D76897-B232-41DB-B1C8-3D0D2D1643E8}" destId="{E3B3C964-BADA-4CCB-ACCE-EE22C74B7882}" srcOrd="0" destOrd="0" presId="urn:microsoft.com/office/officeart/2005/8/layout/vList2"/>
    <dgm:cxn modelId="{BBDA1669-B884-40A2-A2BB-F47E7DC09966}" type="presOf" srcId="{7E70ED50-DC4D-4890-9B3C-A5D7E606C307}" destId="{EC49DBC5-3138-4374-90B1-8A25DEC23D08}" srcOrd="0" destOrd="0" presId="urn:microsoft.com/office/officeart/2005/8/layout/vList2"/>
    <dgm:cxn modelId="{2E7A1749-863B-4610-B334-C97385335748}" type="presOf" srcId="{2270F424-D969-4031-879F-34DBDA2F53EE}" destId="{94956B5E-BDEC-47F5-AFE4-E81AB0346516}" srcOrd="0" destOrd="1" presId="urn:microsoft.com/office/officeart/2005/8/layout/vList2"/>
    <dgm:cxn modelId="{877D5F4F-450B-4D22-9939-8C35C71612B0}" srcId="{F0FE6204-15EB-40FE-A947-DBBDA8C68323}" destId="{2270F424-D969-4031-879F-34DBDA2F53EE}" srcOrd="1" destOrd="0" parTransId="{6CC1DB25-0320-4907-88AC-0BEE4F41AC1A}" sibTransId="{A823A4B7-E678-4E1D-B41B-A0A02053D322}"/>
    <dgm:cxn modelId="{CFF7E45A-9BC2-4729-AE80-1E0456AB2B84}"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5640DE2-4A68-4C22-9621-766E60B4EC58}" type="presOf" srcId="{DFB4C1C7-C9BB-4C34-B066-5FCC9985410E}" destId="{66109294-A1E2-4400-BC06-49C74BD2EDA4}" srcOrd="0" destOrd="0" presId="urn:microsoft.com/office/officeart/2005/8/layout/vList2"/>
    <dgm:cxn modelId="{26CDA1E5-263E-4F18-AE13-C86CB1C2AB8A}" srcId="{7E70ED50-DC4D-4890-9B3C-A5D7E606C307}" destId="{D0D76897-B232-41DB-B1C8-3D0D2D1643E8}" srcOrd="0" destOrd="0" parTransId="{12EAC9C2-7640-4082-9AF5-E11609E797DE}" sibTransId="{B765D0C1-1619-4865-8C6E-4D3D3F359CDF}"/>
    <dgm:cxn modelId="{1CED5DE9-5A35-4480-84AE-2BA2F1EB018F}" type="presOf" srcId="{F0FE6204-15EB-40FE-A947-DBBDA8C68323}" destId="{9425ABFE-EED6-4A98-A81B-C9BB6DB54DF8}" srcOrd="0" destOrd="0" presId="urn:microsoft.com/office/officeart/2005/8/layout/vList2"/>
    <dgm:cxn modelId="{C56A0FFE-E203-4D3A-A99D-693C0ED4E918}" type="presOf" srcId="{822E20C3-1A43-4559-B551-9832CAF26778}" destId="{E3B3C964-BADA-4CCB-ACCE-EE22C74B7882}" srcOrd="0" destOrd="1" presId="urn:microsoft.com/office/officeart/2005/8/layout/vList2"/>
    <dgm:cxn modelId="{06C4FECA-B2D4-4598-AF86-1909DDDE6FE4}" type="presParOf" srcId="{66109294-A1E2-4400-BC06-49C74BD2EDA4}" destId="{9425ABFE-EED6-4A98-A81B-C9BB6DB54DF8}" srcOrd="0" destOrd="0" presId="urn:microsoft.com/office/officeart/2005/8/layout/vList2"/>
    <dgm:cxn modelId="{1CB0211F-F693-40BE-A620-6A395ECD5BB4}" type="presParOf" srcId="{66109294-A1E2-4400-BC06-49C74BD2EDA4}" destId="{94956B5E-BDEC-47F5-AFE4-E81AB0346516}" srcOrd="1" destOrd="0" presId="urn:microsoft.com/office/officeart/2005/8/layout/vList2"/>
    <dgm:cxn modelId="{8AE9858C-1854-4114-955B-BFCF023B9932}" type="presParOf" srcId="{66109294-A1E2-4400-BC06-49C74BD2EDA4}" destId="{EC49DBC5-3138-4374-90B1-8A25DEC23D08}" srcOrd="2" destOrd="0" presId="urn:microsoft.com/office/officeart/2005/8/layout/vList2"/>
    <dgm:cxn modelId="{24519DD5-1BFB-4C00-BEF3-412587C3E726}"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Key Services</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Layout</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EC902CFF-8554-443D-ADAB-FE39D5B5F560}">
      <dgm:prSet custT="1"/>
      <dgm:spPr/>
      <dgm:t>
        <a:bodyPr/>
        <a:lstStyle/>
        <a:p>
          <a:r>
            <a:rPr lang="en-US" sz="2400"/>
            <a:t>General</a:t>
          </a:r>
        </a:p>
      </dgm:t>
    </dgm:pt>
    <dgm:pt modelId="{7F3AB18C-026C-473B-A92F-B328E99360D3}" type="parTrans" cxnId="{E2650C3C-D8A5-45E6-8D33-95B2DC9A0128}">
      <dgm:prSet/>
      <dgm:spPr/>
      <dgm:t>
        <a:bodyPr/>
        <a:lstStyle/>
        <a:p>
          <a:endParaRPr lang="en-US"/>
        </a:p>
      </dgm:t>
    </dgm:pt>
    <dgm:pt modelId="{E5767E20-6549-4E16-A5C5-3325221180E8}" type="sibTrans" cxnId="{E2650C3C-D8A5-45E6-8D33-95B2DC9A0128}">
      <dgm:prSet/>
      <dgm:spPr/>
      <dgm:t>
        <a:bodyPr/>
        <a:lstStyle/>
        <a:p>
          <a:endParaRPr lang="en-US"/>
        </a:p>
      </dgm:t>
    </dgm:pt>
    <dgm:pt modelId="{254DE145-1DE5-420F-932C-46AA0BC6D996}">
      <dgm:prSet custT="1"/>
      <dgm:spPr/>
      <dgm:t>
        <a:bodyPr/>
        <a:lstStyle/>
        <a:p>
          <a:r>
            <a:rPr lang="en-US" sz="2400"/>
            <a:t>Prebuilt</a:t>
          </a:r>
        </a:p>
      </dgm:t>
    </dgm:pt>
    <dgm:pt modelId="{F995EE89-ADA8-408E-AC58-80D383EB41F3}" type="parTrans" cxnId="{12946E46-B5FC-4DB4-A96F-C3994A3C5F4A}">
      <dgm:prSet/>
      <dgm:spPr/>
      <dgm:t>
        <a:bodyPr/>
        <a:lstStyle/>
        <a:p>
          <a:endParaRPr lang="en-US"/>
        </a:p>
      </dgm:t>
    </dgm:pt>
    <dgm:pt modelId="{44B338B7-EB12-4F4D-BEBA-8439242502FD}" type="sibTrans" cxnId="{12946E46-B5FC-4DB4-A96F-C3994A3C5F4A}">
      <dgm:prSet/>
      <dgm:spPr/>
      <dgm:t>
        <a:bodyPr/>
        <a:lstStyle/>
        <a:p>
          <a:endParaRPr lang="en-US"/>
        </a:p>
      </dgm:t>
    </dgm:pt>
    <dgm:pt modelId="{8C10627E-38DA-4FB1-B776-3C445E4E652F}">
      <dgm:prSet custT="1"/>
      <dgm:spPr/>
      <dgm:t>
        <a:bodyPr/>
        <a:lstStyle/>
        <a:p>
          <a:r>
            <a:rPr lang="en-US" sz="2400"/>
            <a:t>Custom</a:t>
          </a:r>
        </a:p>
      </dgm:t>
    </dgm:pt>
    <dgm:pt modelId="{405FC649-4DED-4B32-956D-962056E9997C}" type="parTrans" cxnId="{C8A71A27-F9C4-4C3C-ADF7-27F4692F5C04}">
      <dgm:prSet/>
      <dgm:spPr/>
      <dgm:t>
        <a:bodyPr/>
        <a:lstStyle/>
        <a:p>
          <a:endParaRPr lang="en-US"/>
        </a:p>
      </dgm:t>
    </dgm:pt>
    <dgm:pt modelId="{7D352834-DF01-4C74-B481-2A4FD132461F}" type="sibTrans" cxnId="{C8A71A27-F9C4-4C3C-ADF7-27F4692F5C04}">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039A670A-6710-4027-9FDF-4CCBFC209BFB}" type="presOf" srcId="{EC902CFF-8554-443D-ADAB-FE39D5B5F560}" destId="{A7501C3A-A857-4FF3-AF87-5EA1D32D2C24}" srcOrd="0" destOrd="1" presId="urn:microsoft.com/office/officeart/2005/8/layout/vList2"/>
    <dgm:cxn modelId="{C8A71A27-F9C4-4C3C-ADF7-27F4692F5C04}" srcId="{091F75C4-168F-4E14-AF67-3344816FD8CF}" destId="{8C10627E-38DA-4FB1-B776-3C445E4E652F}" srcOrd="3" destOrd="0" parTransId="{405FC649-4DED-4B32-956D-962056E9997C}" sibTransId="{7D352834-DF01-4C74-B481-2A4FD132461F}"/>
    <dgm:cxn modelId="{E2650C3C-D8A5-45E6-8D33-95B2DC9A0128}" srcId="{091F75C4-168F-4E14-AF67-3344816FD8CF}" destId="{EC902CFF-8554-443D-ADAB-FE39D5B5F560}" srcOrd="1" destOrd="0" parTransId="{7F3AB18C-026C-473B-A92F-B328E99360D3}" sibTransId="{E5767E20-6549-4E16-A5C5-3325221180E8}"/>
    <dgm:cxn modelId="{12946E46-B5FC-4DB4-A96F-C3994A3C5F4A}" srcId="{091F75C4-168F-4E14-AF67-3344816FD8CF}" destId="{254DE145-1DE5-420F-932C-46AA0BC6D996}" srcOrd="2" destOrd="0" parTransId="{F995EE89-ADA8-408E-AC58-80D383EB41F3}" sibTransId="{44B338B7-EB12-4F4D-BEBA-8439242502FD}"/>
    <dgm:cxn modelId="{D7544A7B-EA93-4C3F-BEB1-8A00E5534FF7}" type="presOf" srcId="{8C10627E-38DA-4FB1-B776-3C445E4E652F}" destId="{A7501C3A-A857-4FF3-AF87-5EA1D32D2C24}" srcOrd="0" destOrd="3"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49894EC3-356C-4545-99E5-87561191734B}" type="presOf" srcId="{254DE145-1DE5-420F-932C-46AA0BC6D996}" destId="{A7501C3A-A857-4FF3-AF87-5EA1D32D2C24}" srcOrd="0" destOrd="2" presId="urn:microsoft.com/office/officeart/2005/8/layout/vList2"/>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dirty="0"/>
            <a:t>Build workflow to automate the business process</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3F1E47D6-442B-4E68-9F45-2ECB21EF056B}">
      <dgm:prSet custT="1"/>
      <dgm:spPr/>
      <dgm:t>
        <a:bodyPr/>
        <a:lstStyle/>
        <a:p>
          <a:r>
            <a:rPr lang="en-US" sz="1400" dirty="0"/>
            <a:t>Trigger workflow when new document is uploaded</a:t>
          </a:r>
        </a:p>
      </dgm:t>
    </dgm:pt>
    <dgm:pt modelId="{55FFC406-CA84-4A67-AB23-915EF04869DA}" type="parTrans" cxnId="{7B457BA1-F50A-4089-9206-4C098E88FCD5}">
      <dgm:prSet/>
      <dgm:spPr/>
      <dgm:t>
        <a:bodyPr/>
        <a:lstStyle/>
        <a:p>
          <a:endParaRPr lang="en-US"/>
        </a:p>
      </dgm:t>
    </dgm:pt>
    <dgm:pt modelId="{D7362B6A-8CBA-43D4-9242-3D0769901BA8}" type="sibTrans" cxnId="{7B457BA1-F50A-4089-9206-4C098E88FCD5}">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F59A8B04-23B7-413B-BAB9-EFD57A6052FD}">
      <dgm:prSet custT="1"/>
      <dgm:spPr/>
      <dgm:t>
        <a:bodyPr/>
        <a:lstStyle/>
        <a:p>
          <a:r>
            <a:rPr lang="en-US" sz="1400" dirty="0"/>
            <a:t> Process the documents using the out of the box models or custom model created in previous hack</a:t>
          </a:r>
        </a:p>
      </dgm:t>
    </dgm:pt>
    <dgm:pt modelId="{41EA42EA-0594-4A24-9DCD-F839BCFF2CC9}" type="parTrans" cxnId="{46B32416-C96C-4363-8DA1-38F74EBD99A4}">
      <dgm:prSet/>
      <dgm:spPr/>
      <dgm:t>
        <a:bodyPr/>
        <a:lstStyle/>
        <a:p>
          <a:endParaRPr lang="en-US"/>
        </a:p>
      </dgm:t>
    </dgm:pt>
    <dgm:pt modelId="{36FE0338-FAAF-4D50-9D6D-1B8208551606}" type="sibTrans" cxnId="{46B32416-C96C-4363-8DA1-38F74EBD99A4}">
      <dgm:prSet/>
      <dgm:spPr/>
      <dgm:t>
        <a:bodyPr/>
        <a:lstStyle/>
        <a:p>
          <a:endParaRPr lang="en-US"/>
        </a:p>
      </dgm:t>
    </dgm:pt>
    <dgm:pt modelId="{158DDAF9-DC90-4FB2-A3B0-85A9A6A1D36E}">
      <dgm:prSet custT="1"/>
      <dgm:spPr/>
      <dgm:t>
        <a:bodyPr/>
        <a:lstStyle/>
        <a:p>
          <a:endParaRPr lang="en-US" sz="1400" dirty="0"/>
        </a:p>
      </dgm:t>
    </dgm:pt>
    <dgm:pt modelId="{137CE791-79B6-420C-B410-A0F1B38854B1}" type="parTrans" cxnId="{C0DD6D68-B2FF-4B28-9136-44DF7E375A92}">
      <dgm:prSet/>
      <dgm:spPr/>
      <dgm:t>
        <a:bodyPr/>
        <a:lstStyle/>
        <a:p>
          <a:endParaRPr lang="en-US"/>
        </a:p>
      </dgm:t>
    </dgm:pt>
    <dgm:pt modelId="{A0E83B77-6B9F-4696-B168-4B4141378976}" type="sibTrans" cxnId="{C0DD6D68-B2FF-4B28-9136-44DF7E375A92}">
      <dgm:prSet/>
      <dgm:spPr/>
      <dgm:t>
        <a:bodyPr/>
        <a:lstStyle/>
        <a:p>
          <a:endParaRPr lang="en-US"/>
        </a:p>
      </dgm:t>
    </dgm:pt>
    <dgm:pt modelId="{6EED16EE-E09B-4C03-A237-8312F51A2F3D}">
      <dgm:prSet custT="1"/>
      <dgm:spPr/>
      <dgm:t>
        <a:bodyPr/>
        <a:lstStyle/>
        <a:p>
          <a:r>
            <a:rPr lang="en-US" sz="1400"/>
            <a:t>Share details of the automated business process</a:t>
          </a:r>
          <a:endParaRPr lang="en-US" sz="1400" dirty="0"/>
        </a:p>
      </dgm:t>
    </dgm:pt>
    <dgm:pt modelId="{D8095B65-0010-444F-AD2C-5E629BA64248}" type="parTrans" cxnId="{817727D9-0941-4108-8EAE-AEA49E195CD6}">
      <dgm:prSet/>
      <dgm:spPr/>
      <dgm:t>
        <a:bodyPr/>
        <a:lstStyle/>
        <a:p>
          <a:endParaRPr lang="en-US"/>
        </a:p>
      </dgm:t>
    </dgm:pt>
    <dgm:pt modelId="{CFBA98F4-79F6-4358-9325-08D5AC959E24}" type="sibTrans" cxnId="{817727D9-0941-4108-8EAE-AEA49E195CD6}">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X="508" custLinFactNeighborY="8523">
        <dgm:presLayoutVars>
          <dgm:chMax val="0"/>
          <dgm:bulletEnabled val="1"/>
        </dgm:presLayoutVars>
      </dgm:prSet>
      <dgm:spPr/>
    </dgm:pt>
    <dgm:pt modelId="{30893710-BB35-42A2-8863-45D041984F51}"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886D510A-8256-4607-8538-ACA62B465E08}" type="presOf" srcId="{0B4AE8E0-89FC-4A65-ADDB-E7A2F5EB4350}" destId="{94956B5E-BDEC-47F5-AFE4-E81AB0346516}" srcOrd="0" destOrd="0" presId="urn:microsoft.com/office/officeart/2005/8/layout/vList2"/>
    <dgm:cxn modelId="{46B32416-C96C-4363-8DA1-38F74EBD99A4}" srcId="{F0FE6204-15EB-40FE-A947-DBBDA8C68323}" destId="{F59A8B04-23B7-413B-BAB9-EFD57A6052FD}" srcOrd="2" destOrd="0" parTransId="{41EA42EA-0594-4A24-9DCD-F839BCFF2CC9}" sibTransId="{36FE0338-FAAF-4D50-9D6D-1B8208551606}"/>
    <dgm:cxn modelId="{67934B1D-764B-4C7E-8D09-B0319C048CE1}" srcId="{F0FE6204-15EB-40FE-A947-DBBDA8C68323}" destId="{0B4AE8E0-89FC-4A65-ADDB-E7A2F5EB4350}" srcOrd="0" destOrd="0" parTransId="{BB6DB04C-6258-4225-B58E-B25F07862934}" sibTransId="{CF111F12-A327-4010-8A7D-60E52D46B18A}"/>
    <dgm:cxn modelId="{AE07CD5C-027B-4FA0-87EE-09B227DD4DE5}" type="presOf" srcId="{F0FE6204-15EB-40FE-A947-DBBDA8C68323}" destId="{9425ABFE-EED6-4A98-A81B-C9BB6DB54DF8}" srcOrd="0" destOrd="0" presId="urn:microsoft.com/office/officeart/2005/8/layout/vList2"/>
    <dgm:cxn modelId="{63717245-36E8-4C5B-8CDB-3AED9498D2C7}" type="presOf" srcId="{3F1E47D6-442B-4E68-9F45-2ECB21EF056B}" destId="{94956B5E-BDEC-47F5-AFE4-E81AB0346516}" srcOrd="0" destOrd="1" presId="urn:microsoft.com/office/officeart/2005/8/layout/vList2"/>
    <dgm:cxn modelId="{C0DD6D68-B2FF-4B28-9136-44DF7E375A92}" srcId="{7E70ED50-DC4D-4890-9B3C-A5D7E606C307}" destId="{158DDAF9-DC90-4FB2-A3B0-85A9A6A1D36E}" srcOrd="0" destOrd="0" parTransId="{137CE791-79B6-420C-B410-A0F1B38854B1}" sibTransId="{A0E83B77-6B9F-4696-B168-4B4141378976}"/>
    <dgm:cxn modelId="{0F265D4A-8398-434C-88D4-183032FBC1B1}" type="presOf" srcId="{6EED16EE-E09B-4C03-A237-8312F51A2F3D}" destId="{30893710-BB35-42A2-8863-45D041984F51}" srcOrd="0" destOrd="1"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FA04999-6BB5-4404-9DCF-BB14972D00A7}" type="presOf" srcId="{158DDAF9-DC90-4FB2-A3B0-85A9A6A1D36E}" destId="{30893710-BB35-42A2-8863-45D041984F51}"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817727D9-0941-4108-8EAE-AEA49E195CD6}" srcId="{7E70ED50-DC4D-4890-9B3C-A5D7E606C307}" destId="{6EED16EE-E09B-4C03-A237-8312F51A2F3D}" srcOrd="1" destOrd="0" parTransId="{D8095B65-0010-444F-AD2C-5E629BA64248}" sibTransId="{CFBA98F4-79F6-4358-9325-08D5AC959E24}"/>
    <dgm:cxn modelId="{62010BE1-2EB2-4E05-81DE-9DD533A5096B}" type="presOf" srcId="{7E70ED50-DC4D-4890-9B3C-A5D7E606C307}" destId="{EC49DBC5-3138-4374-90B1-8A25DEC23D08}"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4FBBB9F3-3522-48CF-BFEA-F98D1ED7D0D8}" type="presOf" srcId="{F59A8B04-23B7-413B-BAB9-EFD57A6052FD}" destId="{94956B5E-BDEC-47F5-AFE4-E81AB0346516}" srcOrd="0" destOrd="2" presId="urn:microsoft.com/office/officeart/2005/8/layout/vList2"/>
    <dgm:cxn modelId="{1CEFC048-9C13-4E1D-9284-0B2DB3070AA1}" type="presParOf" srcId="{66109294-A1E2-4400-BC06-49C74BD2EDA4}" destId="{9425ABFE-EED6-4A98-A81B-C9BB6DB54DF8}" srcOrd="0" destOrd="0" presId="urn:microsoft.com/office/officeart/2005/8/layout/vList2"/>
    <dgm:cxn modelId="{3E471B11-9A18-4C94-899A-AE168C3A264C}" type="presParOf" srcId="{66109294-A1E2-4400-BC06-49C74BD2EDA4}" destId="{94956B5E-BDEC-47F5-AFE4-E81AB0346516}" srcOrd="1" destOrd="0" presId="urn:microsoft.com/office/officeart/2005/8/layout/vList2"/>
    <dgm:cxn modelId="{41C3E9C7-CAA0-4BE5-950B-F996CA4F60AE}" type="presParOf" srcId="{66109294-A1E2-4400-BC06-49C74BD2EDA4}" destId="{EC49DBC5-3138-4374-90B1-8A25DEC23D08}" srcOrd="2" destOrd="0" presId="urn:microsoft.com/office/officeart/2005/8/layout/vList2"/>
    <dgm:cxn modelId="{050F85CA-9163-4FD1-B059-6B213155303F}" type="presParOf" srcId="{66109294-A1E2-4400-BC06-49C74BD2EDA4}" destId="{30893710-BB35-42A2-8863-45D041984F51}"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F99CB-B80D-4B57-95F6-BC822C7FA524}">
      <dsp:nvSpPr>
        <dsp:cNvPr id="0" name=""/>
        <dsp:cNvSpPr/>
      </dsp:nvSpPr>
      <dsp:spPr>
        <a:xfrm>
          <a:off x="0" y="157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036A12-00E3-4752-A5DC-EF6B8E20AAD3}">
      <dsp:nvSpPr>
        <dsp:cNvPr id="0" name=""/>
        <dsp:cNvSpPr/>
      </dsp:nvSpPr>
      <dsp:spPr>
        <a:xfrm>
          <a:off x="228100" y="171238"/>
          <a:ext cx="415133" cy="4147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3B248A-3D8D-41D7-904C-4F8F54D55097}">
      <dsp:nvSpPr>
        <dsp:cNvPr id="0" name=""/>
        <dsp:cNvSpPr/>
      </dsp:nvSpPr>
      <dsp:spPr>
        <a:xfrm>
          <a:off x="871333" y="157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Chief information officer Andre is responsible for making sure that all Customer data is ingested properly and is available for any other application or organization.</a:t>
          </a:r>
        </a:p>
      </dsp:txBody>
      <dsp:txXfrm>
        <a:off x="871333" y="1577"/>
        <a:ext cx="9066958" cy="754787"/>
      </dsp:txXfrm>
    </dsp:sp>
    <dsp:sp modelId="{C77B9A48-A49D-4DD5-AC7D-7CA1F1F22E56}">
      <dsp:nvSpPr>
        <dsp:cNvPr id="0" name=""/>
        <dsp:cNvSpPr/>
      </dsp:nvSpPr>
      <dsp:spPr>
        <a:xfrm>
          <a:off x="0" y="91526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C8F9B7-61FA-4ACC-A1B4-F894FFE44123}">
      <dsp:nvSpPr>
        <dsp:cNvPr id="0" name=""/>
        <dsp:cNvSpPr/>
      </dsp:nvSpPr>
      <dsp:spPr>
        <a:xfrm>
          <a:off x="228100" y="1084929"/>
          <a:ext cx="415133" cy="4147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4FFB3-6AFE-4271-98FF-CB5C94A28A83}">
      <dsp:nvSpPr>
        <dsp:cNvPr id="0" name=""/>
        <dsp:cNvSpPr/>
      </dsp:nvSpPr>
      <dsp:spPr>
        <a:xfrm>
          <a:off x="871333" y="91526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A large portion of information submitted by customers comes in either  handwritten or scanned forms. </a:t>
          </a:r>
          <a:r>
            <a:rPr lang="en-US" sz="1400" kern="1200" dirty="0" err="1">
              <a:solidFill>
                <a:schemeClr val="bg1"/>
              </a:solidFill>
            </a:rPr>
            <a:t>Woodgrove</a:t>
          </a:r>
          <a:r>
            <a:rPr lang="en-US" sz="1400" kern="1200" dirty="0">
              <a:solidFill>
                <a:schemeClr val="bg1"/>
              </a:solidFill>
            </a:rPr>
            <a:t> spends manual labor hours to scrape and digitize the data.</a:t>
          </a:r>
        </a:p>
      </dsp:txBody>
      <dsp:txXfrm>
        <a:off x="871333" y="915267"/>
        <a:ext cx="9066958" cy="754787"/>
      </dsp:txXfrm>
    </dsp:sp>
    <dsp:sp modelId="{650360B0-F656-4031-85C3-B985E23C9C1F}">
      <dsp:nvSpPr>
        <dsp:cNvPr id="0" name=""/>
        <dsp:cNvSpPr/>
      </dsp:nvSpPr>
      <dsp:spPr>
        <a:xfrm>
          <a:off x="0" y="182895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28D166-759F-4D64-B73B-698ABF7437C5}">
      <dsp:nvSpPr>
        <dsp:cNvPr id="0" name=""/>
        <dsp:cNvSpPr/>
      </dsp:nvSpPr>
      <dsp:spPr>
        <a:xfrm>
          <a:off x="228323" y="1998619"/>
          <a:ext cx="415133" cy="41472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A8508-0577-4D2D-96C0-88C28B658178}">
      <dsp:nvSpPr>
        <dsp:cNvPr id="0" name=""/>
        <dsp:cNvSpPr/>
      </dsp:nvSpPr>
      <dsp:spPr>
        <a:xfrm>
          <a:off x="871779" y="182895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sp:txBody>
      <dsp:txXfrm>
        <a:off x="871779" y="1828957"/>
        <a:ext cx="9066958" cy="75478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246402"/>
          <a:ext cx="3922295"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Key Features</a:t>
          </a:r>
        </a:p>
      </dsp:txBody>
      <dsp:txXfrm>
        <a:off x="29440" y="275842"/>
        <a:ext cx="3863415" cy="544197"/>
      </dsp:txXfrm>
    </dsp:sp>
    <dsp:sp modelId="{A7501C3A-A857-4FF3-AF87-5EA1D32D2C24}">
      <dsp:nvSpPr>
        <dsp:cNvPr id="0" name=""/>
        <dsp:cNvSpPr/>
      </dsp:nvSpPr>
      <dsp:spPr>
        <a:xfrm>
          <a:off x="0" y="857859"/>
          <a:ext cx="3922295" cy="165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53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Fully Managed</a:t>
          </a:r>
        </a:p>
        <a:p>
          <a:pPr marL="228600" lvl="1" indent="-228600" algn="l" defTabSz="1066800">
            <a:lnSpc>
              <a:spcPct val="90000"/>
            </a:lnSpc>
            <a:spcBef>
              <a:spcPct val="0"/>
            </a:spcBef>
            <a:spcAft>
              <a:spcPct val="20000"/>
            </a:spcAft>
            <a:buChar char="•"/>
          </a:pPr>
          <a:r>
            <a:rPr lang="en-US" sz="2400" kern="1200"/>
            <a:t>AI Enrichment</a:t>
          </a:r>
        </a:p>
        <a:p>
          <a:pPr marL="228600" lvl="1" indent="-228600" algn="l" defTabSz="1066800">
            <a:lnSpc>
              <a:spcPct val="90000"/>
            </a:lnSpc>
            <a:spcBef>
              <a:spcPct val="0"/>
            </a:spcBef>
            <a:spcAft>
              <a:spcPct val="20000"/>
            </a:spcAft>
            <a:buChar char="•"/>
          </a:pPr>
          <a:r>
            <a:rPr lang="en-US" sz="2400" kern="1200"/>
            <a:t>Semantic Search</a:t>
          </a:r>
        </a:p>
        <a:p>
          <a:pPr marL="228600" lvl="1" indent="-228600" algn="l" defTabSz="1066800">
            <a:lnSpc>
              <a:spcPct val="90000"/>
            </a:lnSpc>
            <a:spcBef>
              <a:spcPct val="0"/>
            </a:spcBef>
            <a:spcAft>
              <a:spcPct val="20000"/>
            </a:spcAft>
            <a:buChar char="•"/>
          </a:pPr>
          <a:r>
            <a:rPr lang="en-US" sz="2400" kern="1200"/>
            <a:t>Robust Query Syntax</a:t>
          </a:r>
        </a:p>
      </dsp:txBody>
      <dsp:txXfrm>
        <a:off x="0" y="857859"/>
        <a:ext cx="3922295" cy="1656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45671"/>
          <a:ext cx="10924219"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tages of Indexing</a:t>
          </a:r>
        </a:p>
      </dsp:txBody>
      <dsp:txXfrm>
        <a:off x="29440" y="75111"/>
        <a:ext cx="10865339" cy="544197"/>
      </dsp:txXfrm>
    </dsp:sp>
    <dsp:sp modelId="{A7501C3A-A857-4FF3-AF87-5EA1D32D2C24}">
      <dsp:nvSpPr>
        <dsp:cNvPr id="0" name=""/>
        <dsp:cNvSpPr/>
      </dsp:nvSpPr>
      <dsp:spPr>
        <a:xfrm>
          <a:off x="0" y="659139"/>
          <a:ext cx="10924219" cy="2053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684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Document Cracking</a:t>
          </a:r>
        </a:p>
        <a:p>
          <a:pPr marL="228600" lvl="1" indent="-228600" algn="l" defTabSz="1066800">
            <a:lnSpc>
              <a:spcPct val="90000"/>
            </a:lnSpc>
            <a:spcBef>
              <a:spcPct val="0"/>
            </a:spcBef>
            <a:spcAft>
              <a:spcPct val="20000"/>
            </a:spcAft>
            <a:buChar char="•"/>
          </a:pPr>
          <a:r>
            <a:rPr lang="en-US" sz="2400" kern="1200"/>
            <a:t>Field Mappings</a:t>
          </a:r>
        </a:p>
        <a:p>
          <a:pPr marL="228600" lvl="1" indent="-228600" algn="l" defTabSz="1066800">
            <a:lnSpc>
              <a:spcPct val="90000"/>
            </a:lnSpc>
            <a:spcBef>
              <a:spcPct val="0"/>
            </a:spcBef>
            <a:spcAft>
              <a:spcPct val="20000"/>
            </a:spcAft>
            <a:buChar char="•"/>
          </a:pPr>
          <a:r>
            <a:rPr lang="en-US" sz="2400" kern="1200"/>
            <a:t>Skillset Execution</a:t>
          </a:r>
        </a:p>
        <a:p>
          <a:pPr marL="228600" lvl="1" indent="-228600" algn="l" defTabSz="1066800">
            <a:lnSpc>
              <a:spcPct val="90000"/>
            </a:lnSpc>
            <a:spcBef>
              <a:spcPct val="0"/>
            </a:spcBef>
            <a:spcAft>
              <a:spcPct val="20000"/>
            </a:spcAft>
            <a:buChar char="•"/>
          </a:pPr>
          <a:r>
            <a:rPr lang="en-US" sz="2400" kern="1200"/>
            <a:t>Output Field Mapping</a:t>
          </a:r>
        </a:p>
        <a:p>
          <a:pPr marL="228600" lvl="1" indent="-228600" algn="l" defTabSz="1066800">
            <a:lnSpc>
              <a:spcPct val="90000"/>
            </a:lnSpc>
            <a:spcBef>
              <a:spcPct val="0"/>
            </a:spcBef>
            <a:spcAft>
              <a:spcPct val="20000"/>
            </a:spcAft>
            <a:buChar char="•"/>
          </a:pPr>
          <a:r>
            <a:rPr lang="en-US" sz="2400" kern="1200"/>
            <a:t>Push Into Index</a:t>
          </a:r>
        </a:p>
      </dsp:txBody>
      <dsp:txXfrm>
        <a:off x="0" y="659139"/>
        <a:ext cx="10924219" cy="20534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906349-5D6B-415C-9FD7-C7C4E5DCEA43}">
      <dsp:nvSpPr>
        <dsp:cNvPr id="0" name=""/>
        <dsp:cNvSpPr/>
      </dsp:nvSpPr>
      <dsp:spPr>
        <a:xfrm rot="5400000">
          <a:off x="7132861" y="-3104225"/>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t>Your searchable content available to the search engine</a:t>
          </a:r>
        </a:p>
        <a:p>
          <a:pPr marL="171450" lvl="1" indent="-171450" algn="l" defTabSz="800100">
            <a:lnSpc>
              <a:spcPct val="90000"/>
            </a:lnSpc>
            <a:spcBef>
              <a:spcPct val="0"/>
            </a:spcBef>
            <a:spcAft>
              <a:spcPct val="15000"/>
            </a:spcAft>
            <a:buChar char="•"/>
          </a:pPr>
          <a:r>
            <a:rPr lang="en-US" sz="1800" kern="1200"/>
            <a:t>A table in general terms.</a:t>
          </a:r>
        </a:p>
      </dsp:txBody>
      <dsp:txXfrm rot="-5400000">
        <a:off x="3946424" y="113600"/>
        <a:ext cx="6984477" cy="580214"/>
      </dsp:txXfrm>
    </dsp:sp>
    <dsp:sp modelId="{75E4AA88-CE81-40A7-B719-33EDAE0949F9}">
      <dsp:nvSpPr>
        <dsp:cNvPr id="0" name=""/>
        <dsp:cNvSpPr/>
      </dsp:nvSpPr>
      <dsp:spPr>
        <a:xfrm>
          <a:off x="0" y="1838"/>
          <a:ext cx="3946424" cy="803738"/>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a:t>Index</a:t>
          </a:r>
        </a:p>
      </dsp:txBody>
      <dsp:txXfrm>
        <a:off x="39235" y="41073"/>
        <a:ext cx="3867954" cy="725268"/>
      </dsp:txXfrm>
    </dsp:sp>
    <dsp:sp modelId="{CD0A9D66-1404-4FD6-ADAD-0D83D3316C22}">
      <dsp:nvSpPr>
        <dsp:cNvPr id="0" name=""/>
        <dsp:cNvSpPr/>
      </dsp:nvSpPr>
      <dsp:spPr>
        <a:xfrm rot="5400000">
          <a:off x="7132861" y="-2260299"/>
          <a:ext cx="642990" cy="7015865"/>
        </a:xfrm>
        <a:prstGeom prst="round2Same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Sources for your Index</a:t>
          </a:r>
        </a:p>
      </dsp:txBody>
      <dsp:txXfrm rot="-5400000">
        <a:off x="3946424" y="957526"/>
        <a:ext cx="6984477" cy="580214"/>
      </dsp:txXfrm>
    </dsp:sp>
    <dsp:sp modelId="{ACEE23F2-490C-48C0-A17D-560789447970}">
      <dsp:nvSpPr>
        <dsp:cNvPr id="0" name=""/>
        <dsp:cNvSpPr/>
      </dsp:nvSpPr>
      <dsp:spPr>
        <a:xfrm>
          <a:off x="0" y="845763"/>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Data Source</a:t>
          </a:r>
        </a:p>
      </dsp:txBody>
      <dsp:txXfrm>
        <a:off x="39235" y="884998"/>
        <a:ext cx="3867954" cy="725268"/>
      </dsp:txXfrm>
    </dsp:sp>
    <dsp:sp modelId="{9BAC1985-32B2-49E4-A950-16690DC7B60E}">
      <dsp:nvSpPr>
        <dsp:cNvPr id="0" name=""/>
        <dsp:cNvSpPr/>
      </dsp:nvSpPr>
      <dsp:spPr>
        <a:xfrm rot="5400000">
          <a:off x="7132861" y="-1416373"/>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a:latin typeface="+mn-lt"/>
            </a:rPr>
            <a:t>Automate data import from supported data sources</a:t>
          </a:r>
        </a:p>
      </dsp:txBody>
      <dsp:txXfrm rot="-5400000">
        <a:off x="3946424" y="1801452"/>
        <a:ext cx="6984477" cy="580214"/>
      </dsp:txXfrm>
    </dsp:sp>
    <dsp:sp modelId="{125D6C79-91B6-4365-B8CA-A63393204D0D}">
      <dsp:nvSpPr>
        <dsp:cNvPr id="0" name=""/>
        <dsp:cNvSpPr/>
      </dsp:nvSpPr>
      <dsp:spPr>
        <a:xfrm>
          <a:off x="0" y="1689689"/>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Indexer</a:t>
          </a:r>
        </a:p>
      </dsp:txBody>
      <dsp:txXfrm>
        <a:off x="39235" y="1728924"/>
        <a:ext cx="3867954" cy="725268"/>
      </dsp:txXfrm>
    </dsp:sp>
    <dsp:sp modelId="{60E4FD75-95D9-49F7-9251-7C4CCCF48FAC}">
      <dsp:nvSpPr>
        <dsp:cNvPr id="0" name=""/>
        <dsp:cNvSpPr/>
      </dsp:nvSpPr>
      <dsp:spPr>
        <a:xfrm rot="5400000">
          <a:off x="7132861" y="-572448"/>
          <a:ext cx="642990" cy="7015865"/>
        </a:xfrm>
        <a:prstGeom prst="round2Same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A data sink from the enrichment pipeline</a:t>
          </a:r>
          <a:endParaRPr lang="en-US" sz="2800" kern="1200">
            <a:solidFill>
              <a:srgbClr val="000000">
                <a:hueOff val="0"/>
                <a:satOff val="0"/>
                <a:lumOff val="0"/>
                <a:alphaOff val="0"/>
              </a:srgbClr>
            </a:solidFill>
            <a:latin typeface="+mn-lt"/>
            <a:ea typeface="+mn-ea"/>
            <a:cs typeface="+mn-cs"/>
          </a:endParaRPr>
        </a:p>
      </dsp:txBody>
      <dsp:txXfrm rot="-5400000">
        <a:off x="3946424" y="2645377"/>
        <a:ext cx="6984477" cy="580214"/>
      </dsp:txXfrm>
    </dsp:sp>
    <dsp:sp modelId="{52B1B6F2-F864-4A99-AF55-62DFB65ED4A8}">
      <dsp:nvSpPr>
        <dsp:cNvPr id="0" name=""/>
        <dsp:cNvSpPr/>
      </dsp:nvSpPr>
      <dsp:spPr>
        <a:xfrm>
          <a:off x="0" y="2533615"/>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Knowledge Store</a:t>
          </a:r>
        </a:p>
      </dsp:txBody>
      <dsp:txXfrm>
        <a:off x="39235" y="2572850"/>
        <a:ext cx="3867954" cy="725268"/>
      </dsp:txXfrm>
    </dsp:sp>
    <dsp:sp modelId="{227ACFEF-C11D-47DB-8404-1AFA661F9DE5}">
      <dsp:nvSpPr>
        <dsp:cNvPr id="0" name=""/>
        <dsp:cNvSpPr/>
      </dsp:nvSpPr>
      <dsp:spPr>
        <a:xfrm rot="5400000">
          <a:off x="7132861" y="271477"/>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latin typeface="+mn-lt"/>
            </a:rPr>
            <a:t>A set of AI Enrichments</a:t>
          </a:r>
        </a:p>
      </dsp:txBody>
      <dsp:txXfrm rot="-5400000">
        <a:off x="3946424" y="3489302"/>
        <a:ext cx="6984477" cy="580214"/>
      </dsp:txXfrm>
    </dsp:sp>
    <dsp:sp modelId="{F8D4A04C-4F8D-4AA4-B2C8-CA0F032C35D1}">
      <dsp:nvSpPr>
        <dsp:cNvPr id="0" name=""/>
        <dsp:cNvSpPr/>
      </dsp:nvSpPr>
      <dsp:spPr>
        <a:xfrm>
          <a:off x="0" y="3377540"/>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Skillsets</a:t>
          </a:r>
        </a:p>
      </dsp:txBody>
      <dsp:txXfrm>
        <a:off x="39235" y="3416775"/>
        <a:ext cx="3867954" cy="7252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873ADB-B6B8-4D4A-8E89-538092ACE7C0}">
      <dsp:nvSpPr>
        <dsp:cNvPr id="0" name=""/>
        <dsp:cNvSpPr/>
      </dsp:nvSpPr>
      <dsp:spPr>
        <a:xfrm>
          <a:off x="0" y="105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Orientation and context and tech setup  	                         30 mins</a:t>
          </a:r>
        </a:p>
      </dsp:txBody>
      <dsp:txXfrm>
        <a:off x="22617" y="128565"/>
        <a:ext cx="8629097" cy="418086"/>
      </dsp:txXfrm>
    </dsp:sp>
    <dsp:sp modelId="{254E6D64-35DE-4577-B4E1-9155EAE15946}">
      <dsp:nvSpPr>
        <dsp:cNvPr id="0" name=""/>
        <dsp:cNvSpPr/>
      </dsp:nvSpPr>
      <dsp:spPr>
        <a:xfrm>
          <a:off x="0" y="569268"/>
          <a:ext cx="8674331"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ackground</a:t>
          </a:r>
        </a:p>
        <a:p>
          <a:pPr marL="114300" lvl="1" indent="-114300" algn="l" defTabSz="622300">
            <a:lnSpc>
              <a:spcPct val="90000"/>
            </a:lnSpc>
            <a:spcBef>
              <a:spcPct val="0"/>
            </a:spcBef>
            <a:spcAft>
              <a:spcPct val="20000"/>
            </a:spcAft>
            <a:buChar char="•"/>
          </a:pPr>
          <a:r>
            <a:rPr lang="en-US" sz="1400" kern="1200"/>
            <a:t>Environment </a:t>
          </a:r>
        </a:p>
        <a:p>
          <a:pPr marL="114300" lvl="1" indent="-114300" algn="l" defTabSz="622300">
            <a:lnSpc>
              <a:spcPct val="90000"/>
            </a:lnSpc>
            <a:spcBef>
              <a:spcPct val="0"/>
            </a:spcBef>
            <a:spcAft>
              <a:spcPct val="20000"/>
            </a:spcAft>
            <a:buChar char="•"/>
          </a:pPr>
          <a:r>
            <a:rPr lang="en-US" sz="1400" kern="1200"/>
            <a:t>Needed assets </a:t>
          </a:r>
        </a:p>
        <a:p>
          <a:pPr marL="114300" lvl="1" indent="-114300" algn="l" defTabSz="622300">
            <a:lnSpc>
              <a:spcPct val="90000"/>
            </a:lnSpc>
            <a:spcBef>
              <a:spcPct val="0"/>
            </a:spcBef>
            <a:spcAft>
              <a:spcPct val="20000"/>
            </a:spcAft>
            <a:buChar char="•"/>
          </a:pPr>
          <a:r>
            <a:rPr lang="en-US" sz="1400" kern="1200"/>
            <a:t>Hack format </a:t>
          </a:r>
        </a:p>
      </dsp:txBody>
      <dsp:txXfrm>
        <a:off x="0" y="569268"/>
        <a:ext cx="8674331" cy="1043280"/>
      </dsp:txXfrm>
    </dsp:sp>
    <dsp:sp modelId="{C35E1C11-DD46-4569-A55B-4C9F4AF525D2}">
      <dsp:nvSpPr>
        <dsp:cNvPr id="0" name=""/>
        <dsp:cNvSpPr/>
      </dsp:nvSpPr>
      <dsp:spPr>
        <a:xfrm>
          <a:off x="0" y="16125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1   Business owner                                                     10 min</a:t>
          </a:r>
        </a:p>
      </dsp:txBody>
      <dsp:txXfrm>
        <a:off x="22617" y="1635165"/>
        <a:ext cx="8629097" cy="418086"/>
      </dsp:txXfrm>
    </dsp:sp>
    <dsp:sp modelId="{4E3DF4D8-CD49-4073-8BE2-5BC0D6FB588A}">
      <dsp:nvSpPr>
        <dsp:cNvPr id="0" name=""/>
        <dsp:cNvSpPr/>
      </dsp:nvSpPr>
      <dsp:spPr>
        <a:xfrm>
          <a:off x="0" y="2075868"/>
          <a:ext cx="867433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usiness problem summary </a:t>
          </a:r>
        </a:p>
      </dsp:txBody>
      <dsp:txXfrm>
        <a:off x="0" y="2075868"/>
        <a:ext cx="8674331" cy="298080"/>
      </dsp:txXfrm>
    </dsp:sp>
    <dsp:sp modelId="{EDA8706B-FDA0-4F98-80BB-99B48B7FFEC5}">
      <dsp:nvSpPr>
        <dsp:cNvPr id="0" name=""/>
        <dsp:cNvSpPr/>
      </dsp:nvSpPr>
      <dsp:spPr>
        <a:xfrm>
          <a:off x="0" y="2373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2 	 Data Scientist 			                            90 min 	</a:t>
          </a:r>
        </a:p>
      </dsp:txBody>
      <dsp:txXfrm>
        <a:off x="22617" y="2396565"/>
        <a:ext cx="8629097" cy="418086"/>
      </dsp:txXfrm>
    </dsp:sp>
    <dsp:sp modelId="{583211FE-AF0D-462E-A2AE-CE41D39A2731}">
      <dsp:nvSpPr>
        <dsp:cNvPr id="0" name=""/>
        <dsp:cNvSpPr/>
      </dsp:nvSpPr>
      <dsp:spPr>
        <a:xfrm>
          <a:off x="0" y="2837268"/>
          <a:ext cx="8674331"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vision intro and demo </a:t>
          </a:r>
        </a:p>
        <a:p>
          <a:pPr marL="114300" lvl="1" indent="-114300" algn="l" defTabSz="622300">
            <a:lnSpc>
              <a:spcPct val="90000"/>
            </a:lnSpc>
            <a:spcBef>
              <a:spcPct val="0"/>
            </a:spcBef>
            <a:spcAft>
              <a:spcPct val="20000"/>
            </a:spcAft>
            <a:buChar char="•"/>
          </a:pPr>
          <a:r>
            <a:rPr lang="en-US" sz="1400" kern="1200"/>
            <a:t>Custom vision training and testing </a:t>
          </a:r>
        </a:p>
        <a:p>
          <a:pPr marL="114300" lvl="1" indent="-114300" algn="l" defTabSz="622300">
            <a:lnSpc>
              <a:spcPct val="90000"/>
            </a:lnSpc>
            <a:spcBef>
              <a:spcPct val="0"/>
            </a:spcBef>
            <a:spcAft>
              <a:spcPct val="20000"/>
            </a:spcAft>
            <a:buChar char="•"/>
          </a:pPr>
          <a:r>
            <a:rPr lang="en-US" sz="1400" kern="1200"/>
            <a:t>Forms Recognizer intro and demo</a:t>
          </a:r>
        </a:p>
        <a:p>
          <a:pPr marL="114300" lvl="1" indent="-114300" algn="l" defTabSz="622300">
            <a:lnSpc>
              <a:spcPct val="90000"/>
            </a:lnSpc>
            <a:spcBef>
              <a:spcPct val="0"/>
            </a:spcBef>
            <a:spcAft>
              <a:spcPct val="20000"/>
            </a:spcAft>
            <a:buChar char="•"/>
          </a:pPr>
          <a:r>
            <a:rPr lang="en-US" sz="1400" kern="1200"/>
            <a:t>Forms recognizer prebuild DL model test </a:t>
          </a:r>
        </a:p>
        <a:p>
          <a:pPr marL="114300" lvl="1" indent="-114300" algn="l" defTabSz="622300">
            <a:lnSpc>
              <a:spcPct val="90000"/>
            </a:lnSpc>
            <a:spcBef>
              <a:spcPct val="0"/>
            </a:spcBef>
            <a:spcAft>
              <a:spcPct val="20000"/>
            </a:spcAft>
            <a:buChar char="•"/>
          </a:pPr>
          <a:r>
            <a:rPr lang="en-US" sz="1400" kern="1200" dirty="0"/>
            <a:t>Label and train a new model for Insurance </a:t>
          </a:r>
        </a:p>
      </dsp:txBody>
      <dsp:txXfrm>
        <a:off x="0" y="2837268"/>
        <a:ext cx="8674331" cy="13041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386B5-9221-4CEA-A2A8-571F19FD5725}">
      <dsp:nvSpPr>
        <dsp:cNvPr id="0" name=""/>
        <dsp:cNvSpPr/>
      </dsp:nvSpPr>
      <dsp:spPr>
        <a:xfrm>
          <a:off x="0" y="101122"/>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Hack and Learn 3 – Automation/Data  </a:t>
          </a:r>
          <a:r>
            <a:rPr lang="en-US" sz="2100" kern="1200" dirty="0" err="1"/>
            <a:t>Engg</a:t>
          </a:r>
          <a:r>
            <a:rPr lang="en-US" sz="2100" kern="1200" dirty="0"/>
            <a:t>		90 mins</a:t>
          </a:r>
        </a:p>
      </dsp:txBody>
      <dsp:txXfrm>
        <a:off x="26387" y="127509"/>
        <a:ext cx="8621557" cy="487766"/>
      </dsp:txXfrm>
    </dsp:sp>
    <dsp:sp modelId="{94128BDE-7D87-4CCF-8960-9A311CDF08B7}">
      <dsp:nvSpPr>
        <dsp:cNvPr id="0" name=""/>
        <dsp:cNvSpPr/>
      </dsp:nvSpPr>
      <dsp:spPr>
        <a:xfrm>
          <a:off x="0" y="641662"/>
          <a:ext cx="8674331" cy="1825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Introduction to logic apps</a:t>
          </a:r>
        </a:p>
        <a:p>
          <a:pPr marL="171450" lvl="1" indent="-171450" algn="l" defTabSz="711200">
            <a:lnSpc>
              <a:spcPct val="90000"/>
            </a:lnSpc>
            <a:spcBef>
              <a:spcPct val="0"/>
            </a:spcBef>
            <a:spcAft>
              <a:spcPct val="20000"/>
            </a:spcAft>
            <a:buChar char="•"/>
          </a:pPr>
          <a:r>
            <a:rPr lang="en-US" sz="1600" kern="1200"/>
            <a:t>Introduction to cosmos db</a:t>
          </a:r>
        </a:p>
        <a:p>
          <a:pPr marL="171450" lvl="1" indent="-171450" algn="l" defTabSz="711200">
            <a:lnSpc>
              <a:spcPct val="90000"/>
            </a:lnSpc>
            <a:spcBef>
              <a:spcPct val="0"/>
            </a:spcBef>
            <a:spcAft>
              <a:spcPct val="20000"/>
            </a:spcAft>
            <a:buChar char="•"/>
          </a:pPr>
          <a:r>
            <a:rPr lang="en-US" sz="1600" kern="1200"/>
            <a:t>Plug in models </a:t>
          </a:r>
        </a:p>
        <a:p>
          <a:pPr marL="171450" lvl="1" indent="-171450" algn="l" defTabSz="711200">
            <a:lnSpc>
              <a:spcPct val="90000"/>
            </a:lnSpc>
            <a:spcBef>
              <a:spcPct val="0"/>
            </a:spcBef>
            <a:spcAft>
              <a:spcPct val="20000"/>
            </a:spcAft>
            <a:buChar char="•"/>
          </a:pPr>
          <a:r>
            <a:rPr lang="en-US" sz="1600" kern="1200"/>
            <a:t>Test using upload to storage account</a:t>
          </a:r>
        </a:p>
        <a:p>
          <a:pPr marL="171450" lvl="1" indent="-171450" algn="l" defTabSz="711200">
            <a:lnSpc>
              <a:spcPct val="90000"/>
            </a:lnSpc>
            <a:spcBef>
              <a:spcPct val="0"/>
            </a:spcBef>
            <a:spcAft>
              <a:spcPct val="20000"/>
            </a:spcAft>
            <a:buChar char="•"/>
          </a:pPr>
          <a:r>
            <a:rPr lang="en-US" sz="1600" kern="1200"/>
            <a:t>Introduction to Cognitive search                  </a:t>
          </a:r>
        </a:p>
        <a:p>
          <a:pPr marL="171450" lvl="1" indent="-171450" algn="l" defTabSz="711200">
            <a:lnSpc>
              <a:spcPct val="90000"/>
            </a:lnSpc>
            <a:spcBef>
              <a:spcPct val="0"/>
            </a:spcBef>
            <a:spcAft>
              <a:spcPct val="20000"/>
            </a:spcAft>
            <a:buChar char="•"/>
          </a:pPr>
          <a:r>
            <a:rPr lang="en-US" sz="1600" kern="1200"/>
            <a:t>Test cognitive search </a:t>
          </a:r>
        </a:p>
      </dsp:txBody>
      <dsp:txXfrm>
        <a:off x="0" y="641662"/>
        <a:ext cx="8674331" cy="1825740"/>
      </dsp:txXfrm>
    </dsp:sp>
    <dsp:sp modelId="{48C6918F-7AC7-44A9-BDA1-5E21652BD07B}">
      <dsp:nvSpPr>
        <dsp:cNvPr id="0" name=""/>
        <dsp:cNvSpPr/>
      </dsp:nvSpPr>
      <dsp:spPr>
        <a:xfrm>
          <a:off x="0" y="2467402"/>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Hack and learn 4 – User interface Dev 		              30 min 	</a:t>
          </a:r>
        </a:p>
      </dsp:txBody>
      <dsp:txXfrm>
        <a:off x="26387" y="2493789"/>
        <a:ext cx="8621557" cy="487766"/>
      </dsp:txXfrm>
    </dsp:sp>
    <dsp:sp modelId="{1CF28688-8484-4C61-A56F-FC717BFA91EE}">
      <dsp:nvSpPr>
        <dsp:cNvPr id="0" name=""/>
        <dsp:cNvSpPr/>
      </dsp:nvSpPr>
      <dsp:spPr>
        <a:xfrm>
          <a:off x="0" y="3007942"/>
          <a:ext cx="8674331"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Introduction to Cognitive Search</a:t>
          </a:r>
        </a:p>
        <a:p>
          <a:pPr marL="171450" lvl="1" indent="-171450" algn="l" defTabSz="711200">
            <a:lnSpc>
              <a:spcPct val="90000"/>
            </a:lnSpc>
            <a:spcBef>
              <a:spcPct val="0"/>
            </a:spcBef>
            <a:spcAft>
              <a:spcPct val="20000"/>
            </a:spcAft>
            <a:buChar char="•"/>
          </a:pPr>
          <a:r>
            <a:rPr lang="en-US" sz="1600" kern="1200" dirty="0"/>
            <a:t>Web interface </a:t>
          </a:r>
        </a:p>
      </dsp:txBody>
      <dsp:txXfrm>
        <a:off x="0" y="3007942"/>
        <a:ext cx="8674331" cy="597712"/>
      </dsp:txXfrm>
    </dsp:sp>
    <dsp:sp modelId="{876DEE41-45A7-4DC2-ADCF-D5E0DAAD12F7}">
      <dsp:nvSpPr>
        <dsp:cNvPr id="0" name=""/>
        <dsp:cNvSpPr/>
      </dsp:nvSpPr>
      <dsp:spPr>
        <a:xfrm>
          <a:off x="0" y="3605654"/>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Hack and learn 5 – End to end test    		                30 mins </a:t>
          </a:r>
        </a:p>
      </dsp:txBody>
      <dsp:txXfrm>
        <a:off x="26387" y="3632041"/>
        <a:ext cx="8621557" cy="4877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62432"/>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Objectives</a:t>
          </a:r>
        </a:p>
      </dsp:txBody>
      <dsp:txXfrm>
        <a:off x="31613" y="94045"/>
        <a:ext cx="8439877" cy="584369"/>
      </dsp:txXfrm>
    </dsp:sp>
    <dsp:sp modelId="{94956B5E-BDEC-47F5-AFE4-E81AB0346516}">
      <dsp:nvSpPr>
        <dsp:cNvPr id="0" name=""/>
        <dsp:cNvSpPr/>
      </dsp:nvSpPr>
      <dsp:spPr>
        <a:xfrm>
          <a:off x="0" y="796140"/>
          <a:ext cx="8503103"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Understand the business context of the challenge</a:t>
          </a:r>
        </a:p>
        <a:p>
          <a:pPr marL="228600" lvl="1" indent="-228600" algn="l" defTabSz="933450">
            <a:lnSpc>
              <a:spcPct val="90000"/>
            </a:lnSpc>
            <a:spcBef>
              <a:spcPct val="0"/>
            </a:spcBef>
            <a:spcAft>
              <a:spcPct val="20000"/>
            </a:spcAft>
            <a:buChar char="•"/>
          </a:pPr>
          <a:r>
            <a:rPr lang="en-US" sz="2100" kern="1200"/>
            <a:t>Define high level expectations of the project </a:t>
          </a:r>
        </a:p>
      </dsp:txBody>
      <dsp:txXfrm>
        <a:off x="0" y="796140"/>
        <a:ext cx="8503103" cy="726570"/>
      </dsp:txXfrm>
    </dsp:sp>
    <dsp:sp modelId="{EC49DBC5-3138-4374-90B1-8A25DEC23D08}">
      <dsp:nvSpPr>
        <dsp:cNvPr id="0" name=""/>
        <dsp:cNvSpPr/>
      </dsp:nvSpPr>
      <dsp:spPr>
        <a:xfrm>
          <a:off x="0" y="1522710"/>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Acceptance criteria </a:t>
          </a:r>
        </a:p>
      </dsp:txBody>
      <dsp:txXfrm>
        <a:off x="31613" y="1554323"/>
        <a:ext cx="8439877" cy="584369"/>
      </dsp:txXfrm>
    </dsp:sp>
    <dsp:sp modelId="{E3B3C964-BADA-4CCB-ACCE-EE22C74B7882}">
      <dsp:nvSpPr>
        <dsp:cNvPr id="0" name=""/>
        <dsp:cNvSpPr/>
      </dsp:nvSpPr>
      <dsp:spPr>
        <a:xfrm>
          <a:off x="0" y="2170305"/>
          <a:ext cx="8503103"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Business owner write a short summary of project goals for the IT team. </a:t>
          </a:r>
        </a:p>
      </dsp:txBody>
      <dsp:txXfrm>
        <a:off x="0" y="2170305"/>
        <a:ext cx="8503103" cy="4471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53FAE-5248-4F34-98BE-07A9303FB799}">
      <dsp:nvSpPr>
        <dsp:cNvPr id="0" name=""/>
        <dsp:cNvSpPr/>
      </dsp:nvSpPr>
      <dsp:spPr>
        <a:xfrm>
          <a:off x="0" y="0"/>
          <a:ext cx="11178282" cy="146126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OCR</a:t>
          </a:r>
          <a:endParaRPr lang="en-US" sz="1800" kern="1200" dirty="0"/>
        </a:p>
        <a:p>
          <a:pPr marL="114300" lvl="1" indent="-114300" algn="l" defTabSz="622300">
            <a:lnSpc>
              <a:spcPct val="90000"/>
            </a:lnSpc>
            <a:spcBef>
              <a:spcPct val="0"/>
            </a:spcBef>
            <a:spcAft>
              <a:spcPct val="15000"/>
            </a:spcAft>
            <a:buChar char="•"/>
          </a:pPr>
          <a:r>
            <a:rPr lang="en-US" sz="1400" kern="1200"/>
            <a:t>Extract printed or handwritten text from images, such as photos of street signs and products, as well as from documents—invoices, bills, financial reports, articles, and mor</a:t>
          </a:r>
          <a:endParaRPr lang="en-US" sz="1400" kern="1200" dirty="0"/>
        </a:p>
        <a:p>
          <a:pPr marL="114300" lvl="1" indent="-114300" algn="l" defTabSz="622300">
            <a:lnSpc>
              <a:spcPct val="90000"/>
            </a:lnSpc>
            <a:spcBef>
              <a:spcPct val="0"/>
            </a:spcBef>
            <a:spcAft>
              <a:spcPct val="15000"/>
            </a:spcAft>
            <a:buChar char="•"/>
          </a:pPr>
          <a:r>
            <a:rPr lang="en-US" sz="1400" kern="1200"/>
            <a:t>SDK + REST</a:t>
          </a:r>
          <a:endParaRPr lang="en-US" sz="1400" kern="1200" dirty="0"/>
        </a:p>
      </dsp:txBody>
      <dsp:txXfrm>
        <a:off x="2381783" y="0"/>
        <a:ext cx="8796499" cy="1461267"/>
      </dsp:txXfrm>
    </dsp:sp>
    <dsp:sp modelId="{5D473413-7824-4B43-B18D-EBA14B1BB726}">
      <dsp:nvSpPr>
        <dsp:cNvPr id="0" name=""/>
        <dsp:cNvSpPr/>
      </dsp:nvSpPr>
      <dsp:spPr>
        <a:xfrm>
          <a:off x="146126" y="146126"/>
          <a:ext cx="2235656" cy="1169013"/>
        </a:xfrm>
        <a:prstGeom prst="roundRect">
          <a:avLst>
            <a:gd name="adj" fmla="val 10000"/>
          </a:avLst>
        </a:prstGeom>
        <a:blipFill rotWithShape="1">
          <a:blip xmlns:r="http://schemas.openxmlformats.org/officeDocument/2006/relationships" r:embed="rId1"/>
          <a:srcRect/>
          <a:stretch>
            <a:fillRect t="-45000" b="-4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6C014FD7-4592-4B1A-AA0A-F316F9A2E474}">
      <dsp:nvSpPr>
        <dsp:cNvPr id="0" name=""/>
        <dsp:cNvSpPr/>
      </dsp:nvSpPr>
      <dsp:spPr>
        <a:xfrm>
          <a:off x="0" y="1607394"/>
          <a:ext cx="11178282" cy="146126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Image Analysis</a:t>
          </a:r>
          <a:endParaRPr lang="en-US" sz="1600" kern="1200" dirty="0"/>
        </a:p>
        <a:p>
          <a:pPr marL="114300" lvl="1" indent="-114300" algn="l" defTabSz="622300">
            <a:lnSpc>
              <a:spcPct val="90000"/>
            </a:lnSpc>
            <a:spcBef>
              <a:spcPct val="0"/>
            </a:spcBef>
            <a:spcAft>
              <a:spcPct val="15000"/>
            </a:spcAft>
            <a:buChar char="•"/>
          </a:pPr>
          <a:r>
            <a:rPr lang="en-US" sz="1400" kern="1200"/>
            <a:t>Extract a wide variety of visual features from your images. For example, it can determine whether an image contains adult content, find specific brands or objects, or find human faces</a:t>
          </a:r>
          <a:endParaRPr lang="en-US" sz="1400" kern="1200" dirty="0"/>
        </a:p>
        <a:p>
          <a:pPr marL="114300" lvl="1" indent="-114300" algn="l" defTabSz="622300">
            <a:lnSpc>
              <a:spcPct val="90000"/>
            </a:lnSpc>
            <a:spcBef>
              <a:spcPct val="0"/>
            </a:spcBef>
            <a:spcAft>
              <a:spcPct val="15000"/>
            </a:spcAft>
            <a:buChar char="•"/>
          </a:pPr>
          <a:r>
            <a:rPr lang="en-US" sz="1400" kern="1200"/>
            <a:t>REST</a:t>
          </a:r>
          <a:endParaRPr lang="en-US" sz="1400" kern="1200" dirty="0"/>
        </a:p>
      </dsp:txBody>
      <dsp:txXfrm>
        <a:off x="2381783" y="1607394"/>
        <a:ext cx="8796499" cy="1461267"/>
      </dsp:txXfrm>
    </dsp:sp>
    <dsp:sp modelId="{11F378C6-EAF9-432A-8257-2D634B03EB7D}">
      <dsp:nvSpPr>
        <dsp:cNvPr id="0" name=""/>
        <dsp:cNvSpPr/>
      </dsp:nvSpPr>
      <dsp:spPr>
        <a:xfrm>
          <a:off x="146126" y="1753520"/>
          <a:ext cx="2235656" cy="1169013"/>
        </a:xfrm>
        <a:prstGeom prst="roundRect">
          <a:avLst>
            <a:gd name="adj" fmla="val 10000"/>
          </a:avLst>
        </a:prstGeom>
        <a:blipFill rotWithShape="1">
          <a:blip xmlns:r="http://schemas.openxmlformats.org/officeDocument/2006/relationships" r:embed="rId2"/>
          <a:srcRect/>
          <a:stretch>
            <a:fillRect l="-18000" r="-18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787B05-B60E-432B-954A-BD5DF620B437}">
      <dsp:nvSpPr>
        <dsp:cNvPr id="0" name=""/>
        <dsp:cNvSpPr/>
      </dsp:nvSpPr>
      <dsp:spPr>
        <a:xfrm>
          <a:off x="0" y="421321"/>
          <a:ext cx="2698044" cy="93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398" tIns="333248" rIns="209398"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Image Classification</a:t>
          </a:r>
        </a:p>
        <a:p>
          <a:pPr marL="171450" lvl="1" indent="-171450" algn="l" defTabSz="711200">
            <a:lnSpc>
              <a:spcPct val="90000"/>
            </a:lnSpc>
            <a:spcBef>
              <a:spcPct val="0"/>
            </a:spcBef>
            <a:spcAft>
              <a:spcPct val="15000"/>
            </a:spcAft>
            <a:buChar char="•"/>
          </a:pPr>
          <a:r>
            <a:rPr lang="en-US" sz="1600" kern="1200"/>
            <a:t>Object Detection</a:t>
          </a:r>
        </a:p>
      </dsp:txBody>
      <dsp:txXfrm>
        <a:off x="0" y="421321"/>
        <a:ext cx="2698044" cy="932400"/>
      </dsp:txXfrm>
    </dsp:sp>
    <dsp:sp modelId="{9C699EB7-EF88-4458-8780-8EF784C85A58}">
      <dsp:nvSpPr>
        <dsp:cNvPr id="0" name=""/>
        <dsp:cNvSpPr/>
      </dsp:nvSpPr>
      <dsp:spPr>
        <a:xfrm>
          <a:off x="134902" y="185161"/>
          <a:ext cx="1888630" cy="472320"/>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386" tIns="0" rIns="71386" bIns="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Custom Models For:</a:t>
          </a:r>
        </a:p>
      </dsp:txBody>
      <dsp:txXfrm>
        <a:off x="157959" y="208218"/>
        <a:ext cx="1842516" cy="4262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18182"/>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9295" y="57477"/>
        <a:ext cx="7278383" cy="726370"/>
      </dsp:txXfrm>
    </dsp:sp>
    <dsp:sp modelId="{94956B5E-BDEC-47F5-AFE4-E81AB0346516}">
      <dsp:nvSpPr>
        <dsp:cNvPr id="0" name=""/>
        <dsp:cNvSpPr/>
      </dsp:nvSpPr>
      <dsp:spPr>
        <a:xfrm>
          <a:off x="0" y="839300"/>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a:t>Train custom vision</a:t>
          </a:r>
        </a:p>
        <a:p>
          <a:pPr marL="114300" lvl="1" indent="-114300" algn="l" defTabSz="622300">
            <a:lnSpc>
              <a:spcPct val="90000"/>
            </a:lnSpc>
            <a:spcBef>
              <a:spcPct val="0"/>
            </a:spcBef>
            <a:spcAft>
              <a:spcPct val="20000"/>
            </a:spcAft>
            <a:buChar char="•"/>
          </a:pPr>
          <a:r>
            <a:rPr lang="en-US" sz="1400" kern="1200" dirty="0"/>
            <a:t>Train Forms recognizer model </a:t>
          </a:r>
        </a:p>
      </dsp:txBody>
      <dsp:txXfrm>
        <a:off x="0" y="839300"/>
        <a:ext cx="7356973" cy="712080"/>
      </dsp:txXfrm>
    </dsp:sp>
    <dsp:sp modelId="{EC49DBC5-3138-4374-90B1-8A25DEC23D08}">
      <dsp:nvSpPr>
        <dsp:cNvPr id="0" name=""/>
        <dsp:cNvSpPr/>
      </dsp:nvSpPr>
      <dsp:spPr>
        <a:xfrm>
          <a:off x="0" y="1486110"/>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9295" y="1525405"/>
        <a:ext cx="7278383" cy="726370"/>
      </dsp:txXfrm>
    </dsp:sp>
    <dsp:sp modelId="{E3B3C964-BADA-4CCB-ACCE-EE22C74B7882}">
      <dsp:nvSpPr>
        <dsp:cNvPr id="0" name=""/>
        <dsp:cNvSpPr/>
      </dsp:nvSpPr>
      <dsp:spPr>
        <a:xfrm>
          <a:off x="0" y="2356339"/>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Model</a:t>
          </a:r>
        </a:p>
        <a:p>
          <a:pPr marL="114300" lvl="1" indent="-114300" algn="l" defTabSz="622300">
            <a:lnSpc>
              <a:spcPct val="90000"/>
            </a:lnSpc>
            <a:spcBef>
              <a:spcPct val="0"/>
            </a:spcBef>
            <a:spcAft>
              <a:spcPct val="20000"/>
            </a:spcAft>
            <a:buChar char="•"/>
          </a:pPr>
          <a:r>
            <a:rPr lang="en-US" sz="1400" kern="1200"/>
            <a:t>Understanding of out of the box AI model</a:t>
          </a:r>
          <a:endParaRPr lang="en-US" sz="1400" kern="1200" dirty="0"/>
        </a:p>
      </dsp:txBody>
      <dsp:txXfrm>
        <a:off x="0" y="2356339"/>
        <a:ext cx="7356973" cy="71208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594628"/>
          <a:ext cx="3922295"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Key Services</a:t>
          </a:r>
        </a:p>
      </dsp:txBody>
      <dsp:txXfrm>
        <a:off x="29440" y="624068"/>
        <a:ext cx="3863415" cy="544197"/>
      </dsp:txXfrm>
    </dsp:sp>
    <dsp:sp modelId="{A7501C3A-A857-4FF3-AF87-5EA1D32D2C24}">
      <dsp:nvSpPr>
        <dsp:cNvPr id="0" name=""/>
        <dsp:cNvSpPr/>
      </dsp:nvSpPr>
      <dsp:spPr>
        <a:xfrm>
          <a:off x="0" y="1206085"/>
          <a:ext cx="3922295" cy="165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53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Layout</a:t>
          </a:r>
        </a:p>
        <a:p>
          <a:pPr marL="228600" lvl="1" indent="-228600" algn="l" defTabSz="1066800">
            <a:lnSpc>
              <a:spcPct val="90000"/>
            </a:lnSpc>
            <a:spcBef>
              <a:spcPct val="0"/>
            </a:spcBef>
            <a:spcAft>
              <a:spcPct val="20000"/>
            </a:spcAft>
            <a:buChar char="•"/>
          </a:pPr>
          <a:r>
            <a:rPr lang="en-US" sz="2400" kern="1200"/>
            <a:t>General</a:t>
          </a:r>
        </a:p>
        <a:p>
          <a:pPr marL="228600" lvl="1" indent="-228600" algn="l" defTabSz="1066800">
            <a:lnSpc>
              <a:spcPct val="90000"/>
            </a:lnSpc>
            <a:spcBef>
              <a:spcPct val="0"/>
            </a:spcBef>
            <a:spcAft>
              <a:spcPct val="20000"/>
            </a:spcAft>
            <a:buChar char="•"/>
          </a:pPr>
          <a:r>
            <a:rPr lang="en-US" sz="2400" kern="1200"/>
            <a:t>Prebuilt</a:t>
          </a:r>
        </a:p>
        <a:p>
          <a:pPr marL="228600" lvl="1" indent="-228600" algn="l" defTabSz="1066800">
            <a:lnSpc>
              <a:spcPct val="90000"/>
            </a:lnSpc>
            <a:spcBef>
              <a:spcPct val="0"/>
            </a:spcBef>
            <a:spcAft>
              <a:spcPct val="20000"/>
            </a:spcAft>
            <a:buChar char="•"/>
          </a:pPr>
          <a:r>
            <a:rPr lang="en-US" sz="2400" kern="1200"/>
            <a:t>Custom</a:t>
          </a:r>
        </a:p>
      </dsp:txBody>
      <dsp:txXfrm>
        <a:off x="0" y="1206085"/>
        <a:ext cx="3922295" cy="1656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0"/>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2898" y="32898"/>
        <a:ext cx="7291177" cy="608124"/>
      </dsp:txXfrm>
    </dsp:sp>
    <dsp:sp modelId="{94956B5E-BDEC-47F5-AFE4-E81AB0346516}">
      <dsp:nvSpPr>
        <dsp:cNvPr id="0" name=""/>
        <dsp:cNvSpPr/>
      </dsp:nvSpPr>
      <dsp:spPr>
        <a:xfrm>
          <a:off x="0" y="691350"/>
          <a:ext cx="7356973" cy="9128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Build workflow to automate the business process</a:t>
          </a:r>
        </a:p>
        <a:p>
          <a:pPr marL="114300" lvl="1" indent="-114300" algn="l" defTabSz="622300">
            <a:lnSpc>
              <a:spcPct val="90000"/>
            </a:lnSpc>
            <a:spcBef>
              <a:spcPct val="0"/>
            </a:spcBef>
            <a:spcAft>
              <a:spcPct val="20000"/>
            </a:spcAft>
            <a:buChar char="•"/>
          </a:pPr>
          <a:r>
            <a:rPr lang="en-US" sz="1400" kern="1200" dirty="0"/>
            <a:t>Trigger workflow when new document is uploaded</a:t>
          </a:r>
        </a:p>
        <a:p>
          <a:pPr marL="114300" lvl="1" indent="-114300" algn="l" defTabSz="622300">
            <a:lnSpc>
              <a:spcPct val="90000"/>
            </a:lnSpc>
            <a:spcBef>
              <a:spcPct val="0"/>
            </a:spcBef>
            <a:spcAft>
              <a:spcPct val="20000"/>
            </a:spcAft>
            <a:buChar char="•"/>
          </a:pPr>
          <a:r>
            <a:rPr lang="en-US" sz="1400" kern="1200" dirty="0"/>
            <a:t> Process the documents using the out of the box models or custom model created in previous hack</a:t>
          </a:r>
        </a:p>
      </dsp:txBody>
      <dsp:txXfrm>
        <a:off x="0" y="691350"/>
        <a:ext cx="7356973" cy="912870"/>
      </dsp:txXfrm>
    </dsp:sp>
    <dsp:sp modelId="{EC49DBC5-3138-4374-90B1-8A25DEC23D08}">
      <dsp:nvSpPr>
        <dsp:cNvPr id="0" name=""/>
        <dsp:cNvSpPr/>
      </dsp:nvSpPr>
      <dsp:spPr>
        <a:xfrm>
          <a:off x="0" y="1655031"/>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2898" y="1687929"/>
        <a:ext cx="7291177" cy="608124"/>
      </dsp:txXfrm>
    </dsp:sp>
    <dsp:sp modelId="{30893710-BB35-42A2-8863-45D041984F51}">
      <dsp:nvSpPr>
        <dsp:cNvPr id="0" name=""/>
        <dsp:cNvSpPr/>
      </dsp:nvSpPr>
      <dsp:spPr>
        <a:xfrm>
          <a:off x="0" y="2278140"/>
          <a:ext cx="7356973"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p>
        <a:p>
          <a:pPr marL="114300" lvl="1" indent="-114300" algn="l" defTabSz="622300">
            <a:lnSpc>
              <a:spcPct val="90000"/>
            </a:lnSpc>
            <a:spcBef>
              <a:spcPct val="0"/>
            </a:spcBef>
            <a:spcAft>
              <a:spcPct val="20000"/>
            </a:spcAft>
            <a:buChar char="•"/>
          </a:pPr>
          <a:r>
            <a:rPr lang="en-US" sz="1400" kern="1200"/>
            <a:t>Share details of the automated business process</a:t>
          </a:r>
          <a:endParaRPr lang="en-US" sz="1400" kern="1200" dirty="0"/>
        </a:p>
      </dsp:txBody>
      <dsp:txXfrm>
        <a:off x="0" y="2278140"/>
        <a:ext cx="7356973" cy="59616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4BBBA0-9D08-444E-BB72-8A3DB8040B16}" type="datetimeFigureOut">
              <a:rPr lang="en-US" smtClean="0"/>
              <a:t>2/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602D-773F-40DD-8F5F-7A721AD535F3}" type="slidenum">
              <a:rPr lang="en-US" smtClean="0"/>
              <a:t>‹#›</a:t>
            </a:fld>
            <a:endParaRPr lang="en-US"/>
          </a:p>
        </p:txBody>
      </p:sp>
    </p:spTree>
    <p:extLst>
      <p:ext uri="{BB962C8B-B14F-4D97-AF65-F5344CB8AC3E}">
        <p14:creationId xmlns:p14="http://schemas.microsoft.com/office/powerpoint/2010/main" val="71875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search/search-indexer-overview#stages-of-indexing"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microsoft.com/en-us/azure/search/cognitive-search-output-field-mapping"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cognitive-services/computer-vision/"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azure/cognitive-services/computer-vision/overview-image-analysis" TargetMode="External"/><Relationship Id="rId4" Type="http://schemas.openxmlformats.org/officeDocument/2006/relationships/hyperlink" Target="https://docs.microsoft.com/en-us/azure/cognitive-services/computer-vision/overview-ocr"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cognitive-services/computer-vision/overview-ocr"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docs.microsoft.com/en-us/azure/cognitive-services/computer-vision/whats-new" TargetMode="External"/><Relationship Id="rId4" Type="http://schemas.openxmlformats.org/officeDocument/2006/relationships/hyperlink" Target="https://centraluseuap.dev.cognitive.microsoft.com/docs/services/computer-vision-v3-2/operations/5d986960601faab4bf45200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cognitive-services/custom-vision-servic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azure/cognitive-services/computer-vision/overview"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798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baseline="0"/>
              <a:t>Its not just about the products, we have a pool of out-of-the-box connectors that help connect to many SaaS applications.</a:t>
            </a:r>
          </a:p>
          <a:p>
            <a:endParaRPr lang="en-US" baseline="0"/>
          </a:p>
          <a:p>
            <a:r>
              <a:rPr lang="en-US" baseline="0"/>
              <a:t>Secret sauce is really the Azure services.</a:t>
            </a:r>
          </a:p>
          <a:p>
            <a:r>
              <a:rPr lang="en-US" baseline="0"/>
              <a:t>Azure is now at your fingertips – opens doors to numerous possibilities.</a:t>
            </a:r>
          </a:p>
          <a:p>
            <a:r>
              <a:rPr lang="en-US" baseline="0"/>
              <a:t>Traditional integration vendors, ask customers to build silo-</a:t>
            </a:r>
            <a:r>
              <a:rPr lang="en-US" baseline="0" err="1"/>
              <a:t>ed</a:t>
            </a:r>
            <a:r>
              <a:rPr lang="en-US" baseline="0"/>
              <a:t> integration solutions. </a:t>
            </a:r>
          </a:p>
          <a:p>
            <a:r>
              <a:rPr lang="en-US" baseline="0"/>
              <a:t>That approach is not going to allow you to scale to your customer needs.</a:t>
            </a:r>
          </a:p>
          <a:p>
            <a:endParaRPr lang="en-US" baseline="0"/>
          </a:p>
          <a:p>
            <a:r>
              <a:rPr lang="en-US" baseline="0"/>
              <a:t>With Azure, you can build holistic solutions.</a:t>
            </a:r>
          </a:p>
          <a:p>
            <a:r>
              <a:rPr lang="en-US" baseline="0"/>
              <a:t>I can do more than integration – once you have your connected system, you can perform analytics on the data using HD insight, machine learning, to gain insight on your data.</a:t>
            </a:r>
          </a:p>
          <a:p>
            <a:r>
              <a:rPr lang="en-US" baseline="0"/>
              <a:t>This is going to help customers make great business decisions.</a:t>
            </a:r>
          </a:p>
          <a:p>
            <a:endParaRPr lang="en-US" baseline="0"/>
          </a:p>
          <a:p>
            <a:r>
              <a:rPr lang="en-US" baseline="0"/>
              <a:t>Some of you have </a:t>
            </a:r>
            <a:r>
              <a:rPr lang="en-US" baseline="0" err="1"/>
              <a:t>IoT</a:t>
            </a:r>
            <a:r>
              <a:rPr lang="en-US" baseline="0"/>
              <a:t> practices today, this is how you can leverage integration and </a:t>
            </a:r>
            <a:r>
              <a:rPr lang="en-US" baseline="0" err="1"/>
              <a:t>IoT</a:t>
            </a:r>
            <a:r>
              <a:rPr lang="en-US" baseline="0"/>
              <a:t> together.</a:t>
            </a:r>
          </a:p>
          <a:p>
            <a:r>
              <a:rPr lang="en-US" baseline="0"/>
              <a:t>At MSFT, we think that there are multiple points of entry into integration: Think about your customers who reach out to you about mobile development, about </a:t>
            </a:r>
            <a:r>
              <a:rPr lang="en-US" baseline="0" err="1"/>
              <a:t>IoT</a:t>
            </a:r>
            <a:r>
              <a:rPr lang="en-US" baseline="0"/>
              <a:t> solutions, any e-commerce applications, eventually they are going to need a solid integration platform – and that’s what MSFT offers.</a:t>
            </a:r>
          </a:p>
          <a:p>
            <a:endParaRPr lang="en-US" baseline="0"/>
          </a:p>
          <a:p>
            <a:r>
              <a:rPr lang="en-US" baseline="0"/>
              <a:t>2 key differentiating factors to highlight again:</a:t>
            </a:r>
          </a:p>
          <a:p>
            <a:pPr marL="228600" indent="-228600">
              <a:buAutoNum type="arabicPeriod"/>
            </a:pPr>
            <a:r>
              <a:rPr lang="en-US" baseline="0"/>
              <a:t>Hybrid 2. Azure Services</a:t>
            </a:r>
          </a:p>
          <a:p>
            <a:pPr marL="228600" indent="-228600">
              <a:buAutoNum type="arabicPeriod"/>
            </a:pPr>
            <a:endParaRPr lang="en-US" baseline="0"/>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4C555-ED66-4763-9FED-32207011BB9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808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23 11: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4878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end-to-end process for Azure Cognitive Search.  The pipeline starts with your data source and ends with an enriched Index.  The index is searchable via a flexible search syntax.</a:t>
            </a:r>
          </a:p>
          <a:p>
            <a:endParaRPr lang="en-US"/>
          </a:p>
          <a:p>
            <a:r>
              <a:rPr lang="en-US"/>
              <a:t>TOOK ABOUT AN HOUR TO GET HERE</a:t>
            </a:r>
          </a:p>
        </p:txBody>
      </p:sp>
      <p:sp>
        <p:nvSpPr>
          <p:cNvPr id="4" name="Slide Number Placeholder 3"/>
          <p:cNvSpPr>
            <a:spLocks noGrp="1"/>
          </p:cNvSpPr>
          <p:nvPr>
            <p:ph type="sldNum" sz="quarter" idx="5"/>
          </p:nvPr>
        </p:nvSpPr>
        <p:spPr/>
        <p:txBody>
          <a:bodyPr/>
          <a:lstStyle/>
          <a:p>
            <a:fld id="{40405CA6-A7A9-4E0F-8672-28CF28CC7700}" type="slidenum">
              <a:rPr lang="en-US" smtClean="0"/>
              <a:t>26</a:t>
            </a:fld>
            <a:endParaRPr lang="en-US"/>
          </a:p>
        </p:txBody>
      </p:sp>
    </p:spTree>
    <p:extLst>
      <p:ext uri="{BB962C8B-B14F-4D97-AF65-F5344CB8AC3E}">
        <p14:creationId xmlns:p14="http://schemas.microsoft.com/office/powerpoint/2010/main" val="37733725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Indexer overview - Azure Cognitive Search | Microsoft Docs</a:t>
            </a:r>
            <a:endParaRPr lang="en-US"/>
          </a:p>
          <a:p>
            <a:r>
              <a:rPr lang="en-US"/>
              <a:t>https://docs.microsoft.com/en-us/azure/search/search-indexer-overview#stages-of-indexing</a:t>
            </a:r>
          </a:p>
          <a:p>
            <a:endParaRPr lang="en-US"/>
          </a:p>
          <a:p>
            <a:pPr marL="228600" indent="-228600">
              <a:buFont typeface="+mj-lt"/>
              <a:buAutoNum type="arabicPeriod"/>
            </a:pPr>
            <a:r>
              <a:rPr lang="en-US"/>
              <a:t>Document Cracking </a:t>
            </a:r>
          </a:p>
          <a:p>
            <a:pPr marL="628650" lvl="1" indent="-171450">
              <a:buFont typeface="Arial" panose="020B0604020202020204" pitchFamily="34" charset="0"/>
              <a:buChar char="•"/>
            </a:pPr>
            <a:r>
              <a:rPr lang="en-US" b="0" i="0">
                <a:solidFill>
                  <a:srgbClr val="E6E6E6"/>
                </a:solidFill>
                <a:effectLst/>
                <a:latin typeface="Segoe UI" panose="020B0502040204020203" pitchFamily="34" charset="0"/>
              </a:rPr>
              <a:t>Document cracking is the process of opening files and extracting content. Text-based content can be extracted from files on a service, rows in a table, or items in container or colle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Field Mapping</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An indexer extracts text from a source field and sends it to a destination field in an index or knowledge store. When field names and data types coincide, the path is clear. However, you might want different names or types in the output, in which case you need to tell the indexer how to map the field.</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Skillset Execution</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Skillset execution is an optional step that invokes built-in or custom AI processing. You might need it for optical character recognition (OCR) in the form of image analysis if the source data is a binary image, or you might need text translation if content is in different languages.</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Output Field Mapping</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If you include a skillset, you will need to </a:t>
            </a:r>
            <a:r>
              <a:rPr lang="en-US" b="0" i="0" u="none" strike="noStrike">
                <a:effectLst/>
                <a:latin typeface="Segoe UI" panose="020B0502040204020203" pitchFamily="34" charset="0"/>
                <a:hlinkClick r:id="rId4"/>
              </a:rPr>
              <a:t>specify output field mappings</a:t>
            </a:r>
            <a:r>
              <a:rPr lang="en-US" b="0" i="0">
                <a:solidFill>
                  <a:srgbClr val="E6E6E6"/>
                </a:solidFill>
                <a:effectLst/>
                <a:latin typeface="Segoe UI" panose="020B0502040204020203" pitchFamily="34" charset="0"/>
              </a:rPr>
              <a:t> in the indexer definition. The output of a skillset is manifested internally as a tree structure referred to as an </a:t>
            </a:r>
            <a:r>
              <a:rPr lang="en-US" b="0" i="1">
                <a:solidFill>
                  <a:srgbClr val="E6E6E6"/>
                </a:solidFill>
                <a:effectLst/>
                <a:latin typeface="Segoe UI" panose="020B0502040204020203" pitchFamily="34" charset="0"/>
              </a:rPr>
              <a:t>enriched document</a:t>
            </a:r>
            <a:r>
              <a:rPr lang="en-US" b="0" i="0">
                <a:solidFill>
                  <a:srgbClr val="E6E6E6"/>
                </a:solidFill>
                <a:effectLst/>
                <a:latin typeface="Segoe UI" panose="020B0502040204020203" pitchFamily="34" charset="0"/>
              </a:rPr>
              <a:t>. Output field mappings allow you to select which parts of this tree to map into fields in your index.</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Push Into Index</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ush the content to the index or Knowledge Store</a:t>
            </a:r>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27</a:t>
            </a:fld>
            <a:endParaRPr lang="en-US"/>
          </a:p>
        </p:txBody>
      </p:sp>
    </p:spTree>
    <p:extLst>
      <p:ext uri="{BB962C8B-B14F-4D97-AF65-F5344CB8AC3E}">
        <p14:creationId xmlns:p14="http://schemas.microsoft.com/office/powerpoint/2010/main" val="2513752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several key terms to understand before we step into the demo.  </a:t>
            </a:r>
          </a:p>
          <a:p>
            <a:endParaRPr lang="en-US"/>
          </a:p>
          <a:p>
            <a:pPr marL="171450" indent="-171450">
              <a:buFont typeface="Arial" panose="020B0604020202020204" pitchFamily="34" charset="0"/>
              <a:buChar char="•"/>
            </a:pPr>
            <a:r>
              <a:rPr lang="en-US"/>
              <a:t>Indexes are your searchable content available to the search engine. </a:t>
            </a:r>
          </a:p>
          <a:p>
            <a:pPr marL="171450" indent="-171450">
              <a:buFont typeface="Arial" panose="020B0604020202020204" pitchFamily="34" charset="0"/>
              <a:buChar char="•"/>
            </a:pPr>
            <a:r>
              <a:rPr lang="en-US"/>
              <a:t>Data Sources are just that</a:t>
            </a:r>
          </a:p>
          <a:p>
            <a:pPr marL="171450" indent="-171450">
              <a:buFont typeface="Arial" panose="020B0604020202020204" pitchFamily="34" charset="0"/>
              <a:buChar char="•"/>
            </a:pPr>
            <a:r>
              <a:rPr lang="en-US"/>
              <a:t>Indexers are components that provide the link between the Data source and Index.  They allow for AI enrichments via Skills and handle the enrichment pipeline.</a:t>
            </a:r>
          </a:p>
          <a:p>
            <a:pPr marL="171450" indent="-171450">
              <a:buFont typeface="Arial" panose="020B0604020202020204" pitchFamily="34" charset="0"/>
              <a:buChar char="•"/>
            </a:pPr>
            <a:r>
              <a:rPr lang="en-US"/>
              <a:t>Knowledge Stores are a sink from the enrichment pipeline allowing for additional process of the enriched content.  Use cases include running advance machine learning against the store.</a:t>
            </a:r>
          </a:p>
          <a:p>
            <a:pPr marL="171450" indent="-171450">
              <a:buFont typeface="Arial" panose="020B0604020202020204" pitchFamily="34" charset="0"/>
              <a:buChar char="•"/>
            </a:pPr>
            <a:r>
              <a:rPr lang="en-US"/>
              <a:t>Last is our Skillsets.  These are custom or built in AI enrichments.  For example, OCR, Named Entity Recognition and Form Recognizer are skills that can be added to further enrich a document.  You could for example use a built in ID document model in Form Recognizer to extract Key / Values which are then attached as metadata for the ID document in the index allowing for rich filtering</a:t>
            </a:r>
          </a:p>
        </p:txBody>
      </p:sp>
      <p:sp>
        <p:nvSpPr>
          <p:cNvPr id="4" name="Slide Number Placeholder 3"/>
          <p:cNvSpPr>
            <a:spLocks noGrp="1"/>
          </p:cNvSpPr>
          <p:nvPr>
            <p:ph type="sldNum" sz="quarter" idx="5"/>
          </p:nvPr>
        </p:nvSpPr>
        <p:spPr/>
        <p:txBody>
          <a:bodyPr/>
          <a:lstStyle/>
          <a:p>
            <a:fld id="{40405CA6-A7A9-4E0F-8672-28CF28CC7700}" type="slidenum">
              <a:rPr lang="en-US" smtClean="0"/>
              <a:t>28</a:t>
            </a:fld>
            <a:endParaRPr lang="en-US"/>
          </a:p>
        </p:txBody>
      </p:sp>
    </p:spTree>
    <p:extLst>
      <p:ext uri="{BB962C8B-B14F-4D97-AF65-F5344CB8AC3E}">
        <p14:creationId xmlns:p14="http://schemas.microsoft.com/office/powerpoint/2010/main" val="840549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508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3/2023 11: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1244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3/2023 11: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6762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3/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171450" indent="-171450">
              <a:lnSpc>
                <a:spcPct val="150000"/>
              </a:lnSpc>
              <a:buFont typeface="Arial" panose="020B0604020202020204" pitchFamily="34" charset="0"/>
              <a:buChar char="•"/>
            </a:pPr>
            <a:r>
              <a:rPr lang="en-US" dirty="0">
                <a:hlinkClick r:id="rId3"/>
              </a:rPr>
              <a:t>Computer Vision documentation - </a:t>
            </a:r>
            <a:r>
              <a:rPr lang="en-US" dirty="0" err="1">
                <a:hlinkClick r:id="rId3"/>
              </a:rPr>
              <a:t>Quickstarts</a:t>
            </a:r>
            <a:r>
              <a:rPr lang="en-US" dirty="0">
                <a:hlinkClick r:id="rId3"/>
              </a:rPr>
              <a:t>, Tutorials, API Reference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omputer-vision/</a:t>
            </a:r>
          </a:p>
          <a:p>
            <a:pPr marL="171450" lvl="0" indent="-171450">
              <a:lnSpc>
                <a:spcPct val="150000"/>
              </a:lnSpc>
              <a:buFont typeface="Arial" panose="020B0604020202020204" pitchFamily="34" charset="0"/>
              <a:buChar char="•"/>
            </a:pPr>
            <a:r>
              <a:rPr lang="en-US" dirty="0">
                <a:hlinkClick r:id="rId4"/>
              </a:rPr>
              <a:t>What is Optical character recognition?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omputer-vision/overview-ocr</a:t>
            </a:r>
          </a:p>
          <a:p>
            <a:pPr marL="171450" lvl="0" indent="-171450">
              <a:lnSpc>
                <a:spcPct val="150000"/>
              </a:lnSpc>
              <a:buFont typeface="Arial" panose="020B0604020202020204" pitchFamily="34" charset="0"/>
              <a:buChar char="•"/>
            </a:pPr>
            <a:r>
              <a:rPr lang="en-US" dirty="0">
                <a:hlinkClick r:id="rId5"/>
              </a:rPr>
              <a:t>What is Image Analysis? - Azure Cognitive Services | Microsoft Docs</a:t>
            </a:r>
            <a:endParaRPr lang="en-US" dirty="0"/>
          </a:p>
          <a:p>
            <a:pPr marL="628650" lvl="1" indent="-171450" algn="l" defTabSz="533400">
              <a:lnSpc>
                <a:spcPct val="90000"/>
              </a:lnSpc>
              <a:spcBef>
                <a:spcPct val="0"/>
              </a:spcBef>
              <a:spcAft>
                <a:spcPct val="35000"/>
              </a:spcAft>
              <a:buFont typeface="Arial" panose="020B0604020202020204" pitchFamily="34" charset="0"/>
              <a:buChar char="•"/>
            </a:pPr>
            <a:r>
              <a:rPr lang="en-US" sz="1200" b="0" kern="1200" dirty="0">
                <a:solidFill>
                  <a:schemeClr val="tx1"/>
                </a:solidFill>
                <a:latin typeface="Segoe UI" panose="020B0502040204020203" pitchFamily="34" charset="0"/>
                <a:ea typeface="+mn-ea"/>
                <a:cs typeface="Segoe UI" panose="020B0502040204020203" pitchFamily="34" charset="0"/>
              </a:rPr>
              <a:t>https://docs.microsoft.com/en-us/azure/cognitive-services/computer-vision/overview-image-analysis</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93997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What is Optical character recognition? - Azure Cognitive Services | Microsoft Docs</a:t>
            </a:r>
            <a:endParaRPr lang="en-US" dirty="0"/>
          </a:p>
          <a:p>
            <a:pPr marL="171450" indent="-171450">
              <a:buFont typeface="Arial" panose="020B0604020202020204" pitchFamily="34" charset="0"/>
              <a:buChar char="•"/>
            </a:pPr>
            <a:r>
              <a:rPr lang="en-US" dirty="0"/>
              <a:t>https://docs.microsoft.com/en-us/azure/cognitive-services/computer-vision/overview-ocr</a:t>
            </a:r>
          </a:p>
          <a:p>
            <a:pPr marL="171450" indent="-171450">
              <a:buFont typeface="Arial" panose="020B0604020202020204" pitchFamily="34" charset="0"/>
              <a:buChar char="•"/>
            </a:pPr>
            <a:r>
              <a:rPr lang="en-US" b="0" i="1" dirty="0">
                <a:solidFill>
                  <a:srgbClr val="E6E6E6"/>
                </a:solidFill>
                <a:effectLst/>
                <a:latin typeface="Segoe UI" panose="020B0502040204020203" pitchFamily="34" charset="0"/>
              </a:rPr>
              <a:t>The Computer Vision </a:t>
            </a:r>
            <a:r>
              <a:rPr lang="en-US" b="0" i="1" u="none" strike="noStrike" dirty="0">
                <a:effectLst/>
                <a:latin typeface="Segoe UI" panose="020B0502040204020203" pitchFamily="34" charset="0"/>
                <a:hlinkClick r:id="rId4"/>
              </a:rPr>
              <a:t>Read API</a:t>
            </a:r>
            <a:r>
              <a:rPr lang="en-US" b="0" i="1" dirty="0">
                <a:solidFill>
                  <a:srgbClr val="E6E6E6"/>
                </a:solidFill>
                <a:effectLst/>
                <a:latin typeface="Segoe UI" panose="020B0502040204020203" pitchFamily="34" charset="0"/>
              </a:rPr>
              <a:t> is Azure's latest OCR technology (</a:t>
            </a:r>
            <a:r>
              <a:rPr lang="en-US" b="0" i="1" u="none" strike="noStrike" dirty="0">
                <a:effectLst/>
                <a:latin typeface="Segoe UI" panose="020B0502040204020203" pitchFamily="34" charset="0"/>
                <a:hlinkClick r:id="rId5"/>
              </a:rPr>
              <a:t>learn what's new</a:t>
            </a:r>
            <a:r>
              <a:rPr lang="en-US" b="0" i="1" dirty="0">
                <a:solidFill>
                  <a:srgbClr val="E6E6E6"/>
                </a:solidFill>
                <a:effectLst/>
                <a:latin typeface="Segoe UI" panose="020B0502040204020203" pitchFamily="34" charset="0"/>
              </a:rPr>
              <a:t>) that extracts printed text (in several languages), handwritten text (in several languages), digits, and currency symbols from images and multi-page PDF documents. It's optimized to extract text from text-heavy images and multi-page PDF documents with mixed languages. It supports detecting both printed and handwritten text in the same image or document.</a:t>
            </a:r>
            <a:endParaRPr lang="en-US" i="1" dirty="0"/>
          </a:p>
        </p:txBody>
      </p:sp>
      <p:sp>
        <p:nvSpPr>
          <p:cNvPr id="4" name="Slide Number Placeholder 3"/>
          <p:cNvSpPr>
            <a:spLocks noGrp="1"/>
          </p:cNvSpPr>
          <p:nvPr>
            <p:ph type="sldNum" sz="quarter" idx="5"/>
          </p:nvPr>
        </p:nvSpPr>
        <p:spPr/>
        <p:txBody>
          <a:bodyPr/>
          <a:lstStyle/>
          <a:p>
            <a:fld id="{40405CA6-A7A9-4E0F-8672-28CF28CC7700}" type="slidenum">
              <a:rPr lang="en-US" smtClean="0"/>
              <a:t>14</a:t>
            </a:fld>
            <a:endParaRPr lang="en-US"/>
          </a:p>
        </p:txBody>
      </p:sp>
    </p:spTree>
    <p:extLst>
      <p:ext uri="{BB962C8B-B14F-4D97-AF65-F5344CB8AC3E}">
        <p14:creationId xmlns:p14="http://schemas.microsoft.com/office/powerpoint/2010/main" val="1068947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3/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171450" lvl="0" indent="-171450">
              <a:lnSpc>
                <a:spcPct val="150000"/>
              </a:lnSpc>
              <a:buFont typeface="Arial" panose="020B0604020202020204" pitchFamily="34" charset="0"/>
              <a:buChar char="•"/>
            </a:pPr>
            <a:r>
              <a:rPr lang="en-US" dirty="0">
                <a:hlinkClick r:id="rId3"/>
              </a:rPr>
              <a:t>Custom Vision documentation - </a:t>
            </a:r>
            <a:r>
              <a:rPr lang="en-US" dirty="0" err="1">
                <a:hlinkClick r:id="rId3"/>
              </a:rPr>
              <a:t>Quickstarts</a:t>
            </a:r>
            <a:r>
              <a:rPr lang="en-US" dirty="0">
                <a:hlinkClick r:id="rId3"/>
              </a:rPr>
              <a:t>, Tutorials, API Reference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ustom-vision-service/</a:t>
            </a:r>
          </a:p>
          <a:p>
            <a:pPr marL="628650" lvl="1" indent="-171450">
              <a:lnSpc>
                <a:spcPct val="150000"/>
              </a:lnSpc>
              <a:buFont typeface="Arial" panose="020B0604020202020204" pitchFamily="34" charset="0"/>
              <a:buChar char="•"/>
            </a:pPr>
            <a:r>
              <a:rPr lang="en-US" b="0" i="1" dirty="0">
                <a:solidFill>
                  <a:srgbClr val="E6E6E6"/>
                </a:solidFill>
                <a:effectLst/>
                <a:latin typeface="Segoe UI" panose="020B0502040204020203" pitchFamily="34" charset="0"/>
              </a:rPr>
              <a:t>Azure Custom Vision is an image recognition service that lets you build, deploy, and improve your own image identifier models. An image identifier applies labels (which represent classifications or objects) to images, according to their detected visual characteristics. Unlike the </a:t>
            </a:r>
            <a:r>
              <a:rPr lang="en-US" b="0" i="1" u="none" strike="noStrike" dirty="0">
                <a:effectLst/>
                <a:latin typeface="Segoe UI" panose="020B0502040204020203" pitchFamily="34" charset="0"/>
                <a:hlinkClick r:id="rId4"/>
              </a:rPr>
              <a:t>Computer Vision</a:t>
            </a:r>
            <a:r>
              <a:rPr lang="en-US" b="0" i="1" dirty="0">
                <a:solidFill>
                  <a:srgbClr val="E6E6E6"/>
                </a:solidFill>
                <a:effectLst/>
                <a:latin typeface="Segoe UI" panose="020B0502040204020203" pitchFamily="34" charset="0"/>
              </a:rPr>
              <a:t> service, Custom Vision allows you to specify your own labels and train custom models to detect them.</a:t>
            </a:r>
          </a:p>
          <a:p>
            <a:pPr marL="171450" lvl="0" indent="-171450">
              <a:lnSpc>
                <a:spcPct val="150000"/>
              </a:lnSpc>
              <a:buFont typeface="Arial" panose="020B0604020202020204" pitchFamily="34" charset="0"/>
              <a:buChar char="•"/>
            </a:pPr>
            <a:r>
              <a:rPr lang="en-US" dirty="0"/>
              <a:t>We will walk through this in the demo section</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8019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Form Recognizer provides several pre-built models as well as tooling to build your own models.    You can use the prebuilt Invoice, Business Cards, Identity and Receipts models to automatically extract key value pairs.  </a:t>
            </a:r>
          </a:p>
          <a:p>
            <a:endParaRPr lang="en-US"/>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9</a:t>
            </a:fld>
            <a:endParaRPr lang="en-US"/>
          </a:p>
        </p:txBody>
      </p:sp>
    </p:spTree>
    <p:extLst>
      <p:ext uri="{BB962C8B-B14F-4D97-AF65-F5344CB8AC3E}">
        <p14:creationId xmlns:p14="http://schemas.microsoft.com/office/powerpoint/2010/main" val="2188671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ocument labelling tool uses the Analyze API to OCR and extract content from the document and then displays it in an easy to use labelling form.  We will demonstrate this in the Demo.</a:t>
            </a:r>
          </a:p>
        </p:txBody>
      </p:sp>
      <p:sp>
        <p:nvSpPr>
          <p:cNvPr id="4" name="Slide Number Placeholder 3"/>
          <p:cNvSpPr>
            <a:spLocks noGrp="1"/>
          </p:cNvSpPr>
          <p:nvPr>
            <p:ph type="sldNum" sz="quarter" idx="5"/>
          </p:nvPr>
        </p:nvSpPr>
        <p:spPr/>
        <p:txBody>
          <a:bodyPr/>
          <a:lstStyle/>
          <a:p>
            <a:fld id="{40405CA6-A7A9-4E0F-8672-28CF28CC7700}" type="slidenum">
              <a:rPr lang="en-US" smtClean="0"/>
              <a:t>20</a:t>
            </a:fld>
            <a:endParaRPr lang="en-US"/>
          </a:p>
        </p:txBody>
      </p:sp>
    </p:spTree>
    <p:extLst>
      <p:ext uri="{BB962C8B-B14F-4D97-AF65-F5344CB8AC3E}">
        <p14:creationId xmlns:p14="http://schemas.microsoft.com/office/powerpoint/2010/main" val="18068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5.xml"/><Relationship Id="rId1" Type="http://schemas.openxmlformats.org/officeDocument/2006/relationships/tags" Target="../tags/tag1.x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3E37E9-697E-40B0-A4D8-1819B2F11A99}" type="datetimeFigureOut">
              <a:rPr lang="en-US" smtClean="0"/>
              <a:t>2/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7376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9666754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519463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B53AD3-0DE1-4F88-B7C1-8F143828FE7A}"/>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1D86353-AD0C-468E-B9EB-6AC7C037EBDD}"/>
              </a:ext>
            </a:extLst>
          </p:cNvPr>
          <p:cNvSpPr>
            <a:spLocks noGrp="1"/>
          </p:cNvSpPr>
          <p:nvPr>
            <p:ph sz="quarter" idx="10"/>
          </p:nvPr>
        </p:nvSpPr>
        <p:spPr>
          <a:xfrm>
            <a:off x="876300" y="1422400"/>
            <a:ext cx="4394200" cy="353045"/>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0CB9A5CE-52A1-4F69-8347-B0FBF9999591}"/>
              </a:ext>
            </a:extLst>
          </p:cNvPr>
          <p:cNvSpPr>
            <a:spLocks noGrp="1"/>
          </p:cNvSpPr>
          <p:nvPr>
            <p:ph sz="quarter" idx="11"/>
          </p:nvPr>
        </p:nvSpPr>
        <p:spPr>
          <a:xfrm>
            <a:off x="876300" y="2209800"/>
            <a:ext cx="38735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D051A500-2DD3-41EB-93FE-A2BB1FCBB97A}"/>
              </a:ext>
            </a:extLst>
          </p:cNvPr>
          <p:cNvSpPr>
            <a:spLocks noGrp="1"/>
          </p:cNvSpPr>
          <p:nvPr>
            <p:ph sz="quarter" idx="12"/>
          </p:nvPr>
        </p:nvSpPr>
        <p:spPr>
          <a:xfrm>
            <a:off x="1054100" y="2997200"/>
            <a:ext cx="38735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6805E63D-5C77-48F8-8DCB-C35421D73B3D}"/>
              </a:ext>
            </a:extLst>
          </p:cNvPr>
          <p:cNvSpPr>
            <a:spLocks noGrp="1"/>
          </p:cNvSpPr>
          <p:nvPr>
            <p:ph sz="quarter" idx="13"/>
          </p:nvPr>
        </p:nvSpPr>
        <p:spPr>
          <a:xfrm>
            <a:off x="1054100" y="3683000"/>
            <a:ext cx="3340100" cy="353045"/>
          </a:xfrm>
        </p:spPr>
        <p:txBody>
          <a:bodyPr/>
          <a:lstStyle/>
          <a:p>
            <a:pPr lvl="0"/>
            <a:r>
              <a:rPr lang="en-US"/>
              <a:t>Click to edit</a:t>
            </a:r>
          </a:p>
        </p:txBody>
      </p:sp>
    </p:spTree>
    <p:extLst>
      <p:ext uri="{BB962C8B-B14F-4D97-AF65-F5344CB8AC3E}">
        <p14:creationId xmlns:p14="http://schemas.microsoft.com/office/powerpoint/2010/main" val="1699646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0095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Title with photo and ti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DA22743-0E33-4CD9-AC05-9D1A4FA32CDF}"/>
              </a:ext>
            </a:extLst>
          </p:cNvPr>
          <p:cNvSpPr>
            <a:spLocks noGrp="1"/>
          </p:cNvSpPr>
          <p:nvPr>
            <p:ph type="title"/>
          </p:nvPr>
        </p:nvSpPr>
        <p:spPr/>
        <p:txBody>
          <a:bodyPr/>
          <a:lstStyle/>
          <a:p>
            <a:r>
              <a:rPr lang="en-US"/>
              <a:t>Click to edit Master title sty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Tree>
    <p:extLst>
      <p:ext uri="{BB962C8B-B14F-4D97-AF65-F5344CB8AC3E}">
        <p14:creationId xmlns:p14="http://schemas.microsoft.com/office/powerpoint/2010/main" val="230651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6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extLst>
              <p:ext uri="{D42A27DB-BD31-4B8C-83A1-F6EECF244321}">
                <p14:modId xmlns:p14="http://schemas.microsoft.com/office/powerpoint/2010/main" val="2144217542"/>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3456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
        <p:nvSpPr>
          <p:cNvPr id="5" name="Content Placeholder 4">
            <a:extLst>
              <a:ext uri="{FF2B5EF4-FFF2-40B4-BE49-F238E27FC236}">
                <a16:creationId xmlns:a16="http://schemas.microsoft.com/office/drawing/2014/main" id="{8AE4F402-A412-4D36-A75D-AC4A25D0067C}"/>
              </a:ext>
            </a:extLst>
          </p:cNvPr>
          <p:cNvSpPr>
            <a:spLocks noGrp="1"/>
          </p:cNvSpPr>
          <p:nvPr>
            <p:ph sz="quarter" idx="15"/>
          </p:nvPr>
        </p:nvSpPr>
        <p:spPr>
          <a:xfrm>
            <a:off x="1025525" y="893763"/>
            <a:ext cx="2368550" cy="353045"/>
          </a:xfrm>
        </p:spPr>
        <p:txBody>
          <a:bodyPr/>
          <a:lstStyle/>
          <a:p>
            <a:pPr lvl="0"/>
            <a:r>
              <a:rPr lang="en-US"/>
              <a:t>Click to</a:t>
            </a:r>
          </a:p>
        </p:txBody>
      </p:sp>
      <p:sp>
        <p:nvSpPr>
          <p:cNvPr id="7" name="Content Placeholder 6">
            <a:extLst>
              <a:ext uri="{FF2B5EF4-FFF2-40B4-BE49-F238E27FC236}">
                <a16:creationId xmlns:a16="http://schemas.microsoft.com/office/drawing/2014/main" id="{3D8FF502-87BB-45F8-875A-DE8FAF7969E3}"/>
              </a:ext>
            </a:extLst>
          </p:cNvPr>
          <p:cNvSpPr>
            <a:spLocks noGrp="1"/>
          </p:cNvSpPr>
          <p:nvPr>
            <p:ph sz="quarter" idx="16" hasCustomPrompt="1"/>
          </p:nvPr>
        </p:nvSpPr>
        <p:spPr>
          <a:xfrm>
            <a:off x="1025525" y="1463675"/>
            <a:ext cx="2368550" cy="352425"/>
          </a:xfrm>
        </p:spPr>
        <p:txBody>
          <a:bodyPr/>
          <a:lstStyle/>
          <a:p>
            <a:pPr lvl="0"/>
            <a:r>
              <a:rPr lang="en-US"/>
              <a:t>Click to vel</a:t>
            </a:r>
          </a:p>
        </p:txBody>
      </p:sp>
      <p:sp>
        <p:nvSpPr>
          <p:cNvPr id="11" name="Content Placeholder 10">
            <a:extLst>
              <a:ext uri="{FF2B5EF4-FFF2-40B4-BE49-F238E27FC236}">
                <a16:creationId xmlns:a16="http://schemas.microsoft.com/office/drawing/2014/main" id="{86F21F05-6126-4C14-98FF-8345B3929A60}"/>
              </a:ext>
            </a:extLst>
          </p:cNvPr>
          <p:cNvSpPr>
            <a:spLocks noGrp="1"/>
          </p:cNvSpPr>
          <p:nvPr>
            <p:ph sz="quarter" idx="17"/>
          </p:nvPr>
        </p:nvSpPr>
        <p:spPr>
          <a:xfrm>
            <a:off x="1025525" y="2073275"/>
            <a:ext cx="2560638" cy="352425"/>
          </a:xfrm>
        </p:spPr>
        <p:txBody>
          <a:bodyPr/>
          <a:lstStyle/>
          <a:p>
            <a:pPr lvl="0"/>
            <a:r>
              <a:rPr lang="en-US"/>
              <a:t>Click to</a:t>
            </a:r>
          </a:p>
        </p:txBody>
      </p:sp>
      <p:sp>
        <p:nvSpPr>
          <p:cNvPr id="13" name="Rectangle 12">
            <a:extLst>
              <a:ext uri="{FF2B5EF4-FFF2-40B4-BE49-F238E27FC236}">
                <a16:creationId xmlns:a16="http://schemas.microsoft.com/office/drawing/2014/main" id="{208AC215-08D1-45BE-B1A7-071CDA860DA5}"/>
              </a:ext>
              <a:ext uri="{C183D7F6-B498-43B3-948B-1728B52AA6E4}">
                <adec:decorative xmlns:adec="http://schemas.microsoft.com/office/drawing/2017/decorative" val="1"/>
              </a:ext>
            </a:extLst>
          </p:cNvPr>
          <p:cNvSpPr/>
          <p:nvPr userDrawn="1"/>
        </p:nvSpPr>
        <p:spPr bwMode="auto">
          <a:xfrm>
            <a:off x="-2" y="0"/>
            <a:ext cx="9574825" cy="6858000"/>
          </a:xfrm>
          <a:prstGeom prst="rect">
            <a:avLst/>
          </a:prstGeom>
          <a:gradFill flip="none" rotWithShape="1">
            <a:gsLst>
              <a:gs pos="49000">
                <a:srgbClr val="000000">
                  <a:alpha val="70000"/>
                </a:srgbClr>
              </a:gs>
              <a:gs pos="0">
                <a:schemeClr val="tx1">
                  <a:alpha val="80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9438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588742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E36282-906E-4B44-926E-8EED153C33D7}"/>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01B6E99-EB55-4A9E-B860-33AF1F4354C2}"/>
              </a:ext>
            </a:extLst>
          </p:cNvPr>
          <p:cNvSpPr>
            <a:spLocks noGrp="1"/>
          </p:cNvSpPr>
          <p:nvPr>
            <p:ph sz="quarter" idx="10"/>
          </p:nvPr>
        </p:nvSpPr>
        <p:spPr>
          <a:xfrm>
            <a:off x="427038" y="1274763"/>
            <a:ext cx="1946275" cy="353045"/>
          </a:xfrm>
        </p:spPr>
        <p:txBody>
          <a:bodyPr/>
          <a:lstStyle/>
          <a:p>
            <a:pPr lvl="0"/>
            <a:r>
              <a:rPr lang="en-US"/>
              <a:t>Click to</a:t>
            </a:r>
          </a:p>
        </p:txBody>
      </p:sp>
      <p:sp>
        <p:nvSpPr>
          <p:cNvPr id="8" name="Content Placeholder 7">
            <a:extLst>
              <a:ext uri="{FF2B5EF4-FFF2-40B4-BE49-F238E27FC236}">
                <a16:creationId xmlns:a16="http://schemas.microsoft.com/office/drawing/2014/main" id="{C9C1D2FF-F8D0-4043-BBC4-36727164F6A0}"/>
              </a:ext>
            </a:extLst>
          </p:cNvPr>
          <p:cNvSpPr>
            <a:spLocks noGrp="1"/>
          </p:cNvSpPr>
          <p:nvPr>
            <p:ph sz="quarter" idx="11"/>
          </p:nvPr>
        </p:nvSpPr>
        <p:spPr>
          <a:xfrm>
            <a:off x="427038" y="1808163"/>
            <a:ext cx="2049462" cy="352425"/>
          </a:xfrm>
        </p:spPr>
        <p:txBody>
          <a:bodyPr/>
          <a:lstStyle/>
          <a:p>
            <a:pPr lvl="0"/>
            <a:r>
              <a:rPr lang="en-US"/>
              <a:t>Click to</a:t>
            </a:r>
          </a:p>
        </p:txBody>
      </p:sp>
      <p:sp>
        <p:nvSpPr>
          <p:cNvPr id="10" name="Content Placeholder 9">
            <a:extLst>
              <a:ext uri="{FF2B5EF4-FFF2-40B4-BE49-F238E27FC236}">
                <a16:creationId xmlns:a16="http://schemas.microsoft.com/office/drawing/2014/main" id="{F9D006EB-8195-4AFE-9C16-E251BED5427F}"/>
              </a:ext>
            </a:extLst>
          </p:cNvPr>
          <p:cNvSpPr>
            <a:spLocks noGrp="1"/>
          </p:cNvSpPr>
          <p:nvPr>
            <p:ph sz="quarter" idx="12"/>
          </p:nvPr>
        </p:nvSpPr>
        <p:spPr>
          <a:xfrm>
            <a:off x="427038" y="2403475"/>
            <a:ext cx="19462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9E63AB93-C34F-4D08-B65C-4BBB9DC7718F}"/>
              </a:ext>
            </a:extLst>
          </p:cNvPr>
          <p:cNvSpPr>
            <a:spLocks noGrp="1"/>
          </p:cNvSpPr>
          <p:nvPr>
            <p:ph sz="quarter" idx="13"/>
          </p:nvPr>
        </p:nvSpPr>
        <p:spPr>
          <a:xfrm>
            <a:off x="514350" y="2947988"/>
            <a:ext cx="1858963" cy="353045"/>
          </a:xfrm>
        </p:spPr>
        <p:txBody>
          <a:bodyPr/>
          <a:lstStyle/>
          <a:p>
            <a:pPr lvl="0"/>
            <a:r>
              <a:rPr lang="en-US"/>
              <a:t>Click to</a:t>
            </a:r>
          </a:p>
        </p:txBody>
      </p:sp>
      <p:sp>
        <p:nvSpPr>
          <p:cNvPr id="14" name="Content Placeholder 13">
            <a:extLst>
              <a:ext uri="{FF2B5EF4-FFF2-40B4-BE49-F238E27FC236}">
                <a16:creationId xmlns:a16="http://schemas.microsoft.com/office/drawing/2014/main" id="{01EB9609-A26F-4C8D-8D9A-37A479FCF05B}"/>
              </a:ext>
            </a:extLst>
          </p:cNvPr>
          <p:cNvSpPr>
            <a:spLocks noGrp="1"/>
          </p:cNvSpPr>
          <p:nvPr>
            <p:ph sz="quarter" idx="14"/>
          </p:nvPr>
        </p:nvSpPr>
        <p:spPr>
          <a:xfrm>
            <a:off x="2814638" y="1274763"/>
            <a:ext cx="1573212" cy="352425"/>
          </a:xfrm>
        </p:spPr>
        <p:txBody>
          <a:bodyPr/>
          <a:lstStyle/>
          <a:p>
            <a:pPr lvl="0"/>
            <a:r>
              <a:rPr lang="en-US"/>
              <a:t>Click</a:t>
            </a:r>
          </a:p>
        </p:txBody>
      </p:sp>
      <p:sp>
        <p:nvSpPr>
          <p:cNvPr id="16" name="Content Placeholder 15">
            <a:extLst>
              <a:ext uri="{FF2B5EF4-FFF2-40B4-BE49-F238E27FC236}">
                <a16:creationId xmlns:a16="http://schemas.microsoft.com/office/drawing/2014/main" id="{28CC5E3A-F8E0-4408-9A55-8C113B16B9EF}"/>
              </a:ext>
            </a:extLst>
          </p:cNvPr>
          <p:cNvSpPr>
            <a:spLocks noGrp="1"/>
          </p:cNvSpPr>
          <p:nvPr>
            <p:ph sz="quarter" idx="15"/>
          </p:nvPr>
        </p:nvSpPr>
        <p:spPr>
          <a:xfrm>
            <a:off x="2814638" y="1808163"/>
            <a:ext cx="1849437" cy="352425"/>
          </a:xfrm>
        </p:spPr>
        <p:txBody>
          <a:bodyPr/>
          <a:lstStyle/>
          <a:p>
            <a:pPr lvl="0"/>
            <a:r>
              <a:rPr lang="en-US"/>
              <a:t>Click to</a:t>
            </a:r>
          </a:p>
        </p:txBody>
      </p:sp>
      <p:sp>
        <p:nvSpPr>
          <p:cNvPr id="18" name="Content Placeholder 17">
            <a:extLst>
              <a:ext uri="{FF2B5EF4-FFF2-40B4-BE49-F238E27FC236}">
                <a16:creationId xmlns:a16="http://schemas.microsoft.com/office/drawing/2014/main" id="{20CB46B0-1196-4518-8A7E-83BEF8B7A9BA}"/>
              </a:ext>
            </a:extLst>
          </p:cNvPr>
          <p:cNvSpPr>
            <a:spLocks noGrp="1"/>
          </p:cNvSpPr>
          <p:nvPr>
            <p:ph sz="quarter" idx="16"/>
          </p:nvPr>
        </p:nvSpPr>
        <p:spPr>
          <a:xfrm>
            <a:off x="2814638" y="2403475"/>
            <a:ext cx="1946275" cy="353045"/>
          </a:xfrm>
        </p:spPr>
        <p:txBody>
          <a:bodyPr/>
          <a:lstStyle/>
          <a:p>
            <a:pPr lvl="0"/>
            <a:r>
              <a:rPr lang="en-US"/>
              <a:t>Click to</a:t>
            </a:r>
          </a:p>
        </p:txBody>
      </p:sp>
      <p:sp>
        <p:nvSpPr>
          <p:cNvPr id="20" name="Content Placeholder 19">
            <a:extLst>
              <a:ext uri="{FF2B5EF4-FFF2-40B4-BE49-F238E27FC236}">
                <a16:creationId xmlns:a16="http://schemas.microsoft.com/office/drawing/2014/main" id="{52812685-122A-4E1D-85C8-FEEDA52D31D0}"/>
              </a:ext>
            </a:extLst>
          </p:cNvPr>
          <p:cNvSpPr>
            <a:spLocks noGrp="1"/>
          </p:cNvSpPr>
          <p:nvPr>
            <p:ph sz="quarter" idx="17" hasCustomPrompt="1"/>
          </p:nvPr>
        </p:nvSpPr>
        <p:spPr>
          <a:xfrm>
            <a:off x="2814638" y="2947988"/>
            <a:ext cx="1858962" cy="352425"/>
          </a:xfrm>
        </p:spPr>
        <p:txBody>
          <a:bodyPr/>
          <a:lstStyle/>
          <a:p>
            <a:pPr lvl="0"/>
            <a:r>
              <a:rPr lang="en-US"/>
              <a:t>Click to l</a:t>
            </a:r>
          </a:p>
        </p:txBody>
      </p:sp>
      <p:sp>
        <p:nvSpPr>
          <p:cNvPr id="22" name="Content Placeholder 21">
            <a:extLst>
              <a:ext uri="{FF2B5EF4-FFF2-40B4-BE49-F238E27FC236}">
                <a16:creationId xmlns:a16="http://schemas.microsoft.com/office/drawing/2014/main" id="{78B4F042-DD6F-42A1-BE92-91B60625A932}"/>
              </a:ext>
            </a:extLst>
          </p:cNvPr>
          <p:cNvSpPr>
            <a:spLocks noGrp="1"/>
          </p:cNvSpPr>
          <p:nvPr>
            <p:ph sz="quarter" idx="18"/>
          </p:nvPr>
        </p:nvSpPr>
        <p:spPr>
          <a:xfrm>
            <a:off x="5045075" y="1274763"/>
            <a:ext cx="20494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657AA344-D826-4EFD-95DF-C7A525E5D213}"/>
              </a:ext>
            </a:extLst>
          </p:cNvPr>
          <p:cNvSpPr>
            <a:spLocks noGrp="1"/>
          </p:cNvSpPr>
          <p:nvPr>
            <p:ph sz="quarter" idx="19"/>
          </p:nvPr>
        </p:nvSpPr>
        <p:spPr>
          <a:xfrm>
            <a:off x="5157788" y="1808163"/>
            <a:ext cx="20494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78DA73A8-67E5-44C2-BAD2-CCB224A09CC4}"/>
              </a:ext>
            </a:extLst>
          </p:cNvPr>
          <p:cNvSpPr>
            <a:spLocks noGrp="1"/>
          </p:cNvSpPr>
          <p:nvPr>
            <p:ph sz="quarter" idx="20" hasCustomPrompt="1"/>
          </p:nvPr>
        </p:nvSpPr>
        <p:spPr>
          <a:xfrm>
            <a:off x="5240338" y="2403475"/>
            <a:ext cx="1854200" cy="353045"/>
          </a:xfrm>
        </p:spPr>
        <p:txBody>
          <a:bodyPr/>
          <a:lstStyle/>
          <a:p>
            <a:pPr lvl="0"/>
            <a:r>
              <a:rPr lang="en-US"/>
              <a:t>Click to l</a:t>
            </a:r>
          </a:p>
        </p:txBody>
      </p:sp>
      <p:sp>
        <p:nvSpPr>
          <p:cNvPr id="28" name="Content Placeholder 27">
            <a:extLst>
              <a:ext uri="{FF2B5EF4-FFF2-40B4-BE49-F238E27FC236}">
                <a16:creationId xmlns:a16="http://schemas.microsoft.com/office/drawing/2014/main" id="{9DDB92EC-0AF9-4F7D-AC18-78F13674F1A3}"/>
              </a:ext>
            </a:extLst>
          </p:cNvPr>
          <p:cNvSpPr>
            <a:spLocks noGrp="1"/>
          </p:cNvSpPr>
          <p:nvPr>
            <p:ph sz="quarter" idx="21"/>
          </p:nvPr>
        </p:nvSpPr>
        <p:spPr>
          <a:xfrm>
            <a:off x="5240338" y="2947988"/>
            <a:ext cx="1966912" cy="352425"/>
          </a:xfrm>
        </p:spPr>
        <p:txBody>
          <a:bodyPr/>
          <a:lstStyle/>
          <a:p>
            <a:pPr lvl="0"/>
            <a:r>
              <a:rPr lang="en-US"/>
              <a:t>Click</a:t>
            </a:r>
          </a:p>
        </p:txBody>
      </p:sp>
      <p:sp>
        <p:nvSpPr>
          <p:cNvPr id="30" name="Content Placeholder 29">
            <a:extLst>
              <a:ext uri="{FF2B5EF4-FFF2-40B4-BE49-F238E27FC236}">
                <a16:creationId xmlns:a16="http://schemas.microsoft.com/office/drawing/2014/main" id="{2D920B64-86C6-4AC1-ABEA-2B6F3699322E}"/>
              </a:ext>
            </a:extLst>
          </p:cNvPr>
          <p:cNvSpPr>
            <a:spLocks noGrp="1"/>
          </p:cNvSpPr>
          <p:nvPr>
            <p:ph sz="quarter" idx="22"/>
          </p:nvPr>
        </p:nvSpPr>
        <p:spPr>
          <a:xfrm>
            <a:off x="8270875" y="1952625"/>
            <a:ext cx="2049463" cy="353045"/>
          </a:xfrm>
        </p:spPr>
        <p:txBody>
          <a:bodyPr/>
          <a:lstStyle/>
          <a:p>
            <a:pPr lvl="0"/>
            <a:r>
              <a:rPr lang="en-US"/>
              <a:t>Click to</a:t>
            </a:r>
          </a:p>
        </p:txBody>
      </p:sp>
    </p:spTree>
    <p:extLst>
      <p:ext uri="{BB962C8B-B14F-4D97-AF65-F5344CB8AC3E}">
        <p14:creationId xmlns:p14="http://schemas.microsoft.com/office/powerpoint/2010/main" val="104785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2470938108"/>
      </p:ext>
    </p:extLst>
  </p:cSld>
  <p:clrMapOvr>
    <a:masterClrMapping/>
  </p:clrMapOvr>
  <p:transition>
    <p:fade/>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44391A7-ED63-4935-88AE-2BE876115CA1}"/>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08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E1C7B61-6EB0-4F45-9542-987A77819781}"/>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9A87E945-9107-4C7A-A7C9-9A5EB0E5D617}"/>
              </a:ext>
            </a:extLst>
          </p:cNvPr>
          <p:cNvSpPr>
            <a:spLocks noGrp="1"/>
          </p:cNvSpPr>
          <p:nvPr>
            <p:ph sz="quarter" idx="10"/>
          </p:nvPr>
        </p:nvSpPr>
        <p:spPr>
          <a:xfrm>
            <a:off x="889000" y="1485900"/>
            <a:ext cx="38354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EE06E74F-CB3C-4EE6-92E1-A1DC126293E7}"/>
              </a:ext>
            </a:extLst>
          </p:cNvPr>
          <p:cNvSpPr>
            <a:spLocks noGrp="1"/>
          </p:cNvSpPr>
          <p:nvPr>
            <p:ph sz="quarter" idx="11"/>
          </p:nvPr>
        </p:nvSpPr>
        <p:spPr>
          <a:xfrm>
            <a:off x="1054100" y="2146300"/>
            <a:ext cx="3492500" cy="353045"/>
          </a:xfrm>
        </p:spPr>
        <p:txBody>
          <a:bodyPr/>
          <a:lstStyle/>
          <a:p>
            <a:pPr lvl="0"/>
            <a:r>
              <a:rPr lang="en-US"/>
              <a:t>Click to edit Master</a:t>
            </a:r>
          </a:p>
        </p:txBody>
      </p:sp>
      <p:sp>
        <p:nvSpPr>
          <p:cNvPr id="10" name="Content Placeholder 9">
            <a:extLst>
              <a:ext uri="{FF2B5EF4-FFF2-40B4-BE49-F238E27FC236}">
                <a16:creationId xmlns:a16="http://schemas.microsoft.com/office/drawing/2014/main" id="{537D6A34-EA54-47D8-A549-C183787736CB}"/>
              </a:ext>
            </a:extLst>
          </p:cNvPr>
          <p:cNvSpPr>
            <a:spLocks noGrp="1"/>
          </p:cNvSpPr>
          <p:nvPr>
            <p:ph sz="quarter" idx="12"/>
          </p:nvPr>
        </p:nvSpPr>
        <p:spPr>
          <a:xfrm>
            <a:off x="1054100" y="2984500"/>
            <a:ext cx="33782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F766C136-B871-48F3-A0F3-390C01F44B63}"/>
              </a:ext>
            </a:extLst>
          </p:cNvPr>
          <p:cNvSpPr>
            <a:spLocks noGrp="1"/>
          </p:cNvSpPr>
          <p:nvPr>
            <p:ph sz="quarter" idx="13"/>
          </p:nvPr>
        </p:nvSpPr>
        <p:spPr>
          <a:xfrm>
            <a:off x="1054100" y="3657600"/>
            <a:ext cx="2971800" cy="353045"/>
          </a:xfrm>
        </p:spPr>
        <p:txBody>
          <a:bodyPr/>
          <a:lstStyle/>
          <a:p>
            <a:pPr lvl="0"/>
            <a:r>
              <a:rPr lang="en-US"/>
              <a:t>Click to edit Master</a:t>
            </a:r>
          </a:p>
        </p:txBody>
      </p:sp>
      <p:grpSp>
        <p:nvGrpSpPr>
          <p:cNvPr id="9" name="bank">
            <a:extLst>
              <a:ext uri="{FF2B5EF4-FFF2-40B4-BE49-F238E27FC236}">
                <a16:creationId xmlns:a16="http://schemas.microsoft.com/office/drawing/2014/main" id="{26DEE9F9-9F9F-4EB0-A858-14334F3EFBF2}"/>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11" name="Freeform: Shape 10">
              <a:extLst>
                <a:ext uri="{FF2B5EF4-FFF2-40B4-BE49-F238E27FC236}">
                  <a16:creationId xmlns:a16="http://schemas.microsoft.com/office/drawing/2014/main" id="{1BBE31DA-7E28-48CB-9D97-24ACE6CF4C9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1F205E4-213A-40C2-B8B6-66F09A9D186B}"/>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E5AE504-082D-420D-BDB5-DC65C9552D3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213418C-7F4B-4A8B-8A3E-AEF125E479C9}"/>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6C393FC-799A-4F75-90B8-186344E96E8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93AE8CE-B674-4A69-A854-820EE33AB2D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0811D282-72A8-41B9-85FA-DD1BBEB7DA02}"/>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BCA0F02-3805-47A8-9656-AA463D46A94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79401762"/>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8317218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E15C395-FEA6-4C11-8767-F7A2D5742E27}"/>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CCBA4C8-74FE-4580-B7E0-03D8B7513A5C}"/>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221E350-18DA-4CA8-8ADB-8858C1615F7B}"/>
              </a:ext>
            </a:extLst>
          </p:cNvPr>
          <p:cNvSpPr>
            <a:spLocks noGrp="1"/>
          </p:cNvSpPr>
          <p:nvPr>
            <p:ph sz="quarter" idx="10"/>
          </p:nvPr>
        </p:nvSpPr>
        <p:spPr>
          <a:xfrm>
            <a:off x="596900" y="1079500"/>
            <a:ext cx="35814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37D8A75-9611-4C58-9068-678410EF37ED}"/>
              </a:ext>
            </a:extLst>
          </p:cNvPr>
          <p:cNvSpPr>
            <a:spLocks noGrp="1"/>
          </p:cNvSpPr>
          <p:nvPr>
            <p:ph sz="quarter" idx="11"/>
          </p:nvPr>
        </p:nvSpPr>
        <p:spPr>
          <a:xfrm>
            <a:off x="723900" y="20193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213564-202D-4664-A5DA-F8F4AB6DB316}"/>
              </a:ext>
            </a:extLst>
          </p:cNvPr>
          <p:cNvSpPr>
            <a:spLocks noGrp="1"/>
          </p:cNvSpPr>
          <p:nvPr>
            <p:ph sz="quarter" idx="12"/>
          </p:nvPr>
        </p:nvSpPr>
        <p:spPr>
          <a:xfrm>
            <a:off x="825500" y="2755900"/>
            <a:ext cx="26924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177811B8-E364-4B50-80A1-53F8B7A9213E}"/>
              </a:ext>
            </a:extLst>
          </p:cNvPr>
          <p:cNvSpPr>
            <a:spLocks noGrp="1"/>
          </p:cNvSpPr>
          <p:nvPr>
            <p:ph sz="quarter" idx="13"/>
          </p:nvPr>
        </p:nvSpPr>
        <p:spPr>
          <a:xfrm>
            <a:off x="914400" y="3517900"/>
            <a:ext cx="2603500" cy="353045"/>
          </a:xfrm>
        </p:spPr>
        <p:txBody>
          <a:bodyPr/>
          <a:lstStyle/>
          <a:p>
            <a:pPr lvl="0"/>
            <a:r>
              <a:rPr lang="en-US"/>
              <a:t>Click to edit</a:t>
            </a:r>
          </a:p>
        </p:txBody>
      </p:sp>
      <p:grpSp>
        <p:nvGrpSpPr>
          <p:cNvPr id="9" name="bank">
            <a:extLst>
              <a:ext uri="{FF2B5EF4-FFF2-40B4-BE49-F238E27FC236}">
                <a16:creationId xmlns:a16="http://schemas.microsoft.com/office/drawing/2014/main" id="{897D4A72-D10D-4876-AE33-C7F4A9345E4B}"/>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1" name="Freeform: Shape 10">
              <a:extLst>
                <a:ext uri="{FF2B5EF4-FFF2-40B4-BE49-F238E27FC236}">
                  <a16:creationId xmlns:a16="http://schemas.microsoft.com/office/drawing/2014/main" id="{B993F3FE-8673-4E7A-8F11-EA85C1A4F4BB}"/>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C16FBB02-C94C-407C-92C3-E488277106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FA4BE86-A93C-48DF-B846-6518007DA6E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FFB5124-9481-4FFB-8179-777494132FE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99C27C5-4801-484A-864B-585E6922F43C}"/>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DF413587-CAD7-4AE4-8E6D-43E52F2BE07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A7EFFD2-0235-4E08-9511-695375882A70}"/>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CE00B32-0D8B-42E7-B4A3-E7A8D7AEC008}"/>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644038335"/>
      </p:ext>
    </p:extLst>
  </p:cSld>
  <p:clrMapOvr>
    <a:masterClrMapping/>
  </p:clrMapOvr>
  <p:transition>
    <p:fade/>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1B26CDC-54B5-4E7F-A3BF-4366CEB77356}"/>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4F22323-EAD3-48B9-A576-A2BE44FB3F7B}"/>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D8B28CFC-889C-417A-9001-557B00C2D2EF}"/>
              </a:ext>
            </a:extLst>
          </p:cNvPr>
          <p:cNvSpPr>
            <a:spLocks noGrp="1"/>
          </p:cNvSpPr>
          <p:nvPr>
            <p:ph sz="quarter" idx="10"/>
          </p:nvPr>
        </p:nvSpPr>
        <p:spPr>
          <a:xfrm>
            <a:off x="723900" y="1612900"/>
            <a:ext cx="30099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4BCCEDA-3ABE-4861-A651-5489012B4387}"/>
              </a:ext>
            </a:extLst>
          </p:cNvPr>
          <p:cNvSpPr>
            <a:spLocks noGrp="1"/>
          </p:cNvSpPr>
          <p:nvPr>
            <p:ph sz="quarter" idx="11"/>
          </p:nvPr>
        </p:nvSpPr>
        <p:spPr>
          <a:xfrm>
            <a:off x="723900" y="2413000"/>
            <a:ext cx="30099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0CF11534-6E44-44B4-B374-5C0E133D2B5B}"/>
              </a:ext>
            </a:extLst>
          </p:cNvPr>
          <p:cNvSpPr>
            <a:spLocks noGrp="1"/>
          </p:cNvSpPr>
          <p:nvPr>
            <p:ph sz="quarter" idx="12"/>
          </p:nvPr>
        </p:nvSpPr>
        <p:spPr>
          <a:xfrm>
            <a:off x="584200" y="3213100"/>
            <a:ext cx="3289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399CEC6F-C438-4AD0-90C6-59A394A15058}"/>
              </a:ext>
            </a:extLst>
          </p:cNvPr>
          <p:cNvSpPr>
            <a:spLocks noGrp="1"/>
          </p:cNvSpPr>
          <p:nvPr>
            <p:ph sz="quarter" idx="13"/>
          </p:nvPr>
        </p:nvSpPr>
        <p:spPr>
          <a:xfrm>
            <a:off x="427038" y="4114800"/>
            <a:ext cx="2989262" cy="353045"/>
          </a:xfrm>
        </p:spPr>
        <p:txBody>
          <a:bodyPr/>
          <a:lstStyle/>
          <a:p>
            <a:pPr lvl="0"/>
            <a:r>
              <a:rPr lang="en-US"/>
              <a:t>Click to edit</a:t>
            </a:r>
          </a:p>
        </p:txBody>
      </p:sp>
      <p:grpSp>
        <p:nvGrpSpPr>
          <p:cNvPr id="9" name="data empowerment">
            <a:extLst>
              <a:ext uri="{FF2B5EF4-FFF2-40B4-BE49-F238E27FC236}">
                <a16:creationId xmlns:a16="http://schemas.microsoft.com/office/drawing/2014/main" id="{CEC8A82F-4D0F-4CDA-AACE-CC6779C119FD}"/>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87F5AD8C-A658-4E14-8DB5-0D04EBB3B8D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E38C194A-9505-41BE-ACF9-BB1DC81B597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5174B289-E6C8-45BC-8BB9-7267ACDA7560}"/>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8CDF4611-275F-486B-AAED-906E9FAF69D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3F4A5BB4-3C49-4102-BA61-47A30C65EA0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23C6673B-615A-45B5-ADAB-8ACB4EC8235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4944896"/>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8E6BD-1F72-4F71-81A9-A899B6288409}"/>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99FA469-FFEB-4A00-91B3-F2D842626229}"/>
              </a:ext>
            </a:extLst>
          </p:cNvPr>
          <p:cNvSpPr>
            <a:spLocks noGrp="1"/>
          </p:cNvSpPr>
          <p:nvPr>
            <p:ph sz="quarter" idx="10"/>
          </p:nvPr>
        </p:nvSpPr>
        <p:spPr>
          <a:xfrm>
            <a:off x="1511300" y="1295400"/>
            <a:ext cx="29083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F2B5F85-643A-4E20-B91A-513D0A3C3976}"/>
              </a:ext>
            </a:extLst>
          </p:cNvPr>
          <p:cNvSpPr>
            <a:spLocks noGrp="1"/>
          </p:cNvSpPr>
          <p:nvPr>
            <p:ph sz="quarter" idx="11"/>
          </p:nvPr>
        </p:nvSpPr>
        <p:spPr>
          <a:xfrm>
            <a:off x="1511300" y="19050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445B3E69-8050-4950-A648-A94BDE189F1D}"/>
              </a:ext>
            </a:extLst>
          </p:cNvPr>
          <p:cNvSpPr>
            <a:spLocks noGrp="1"/>
          </p:cNvSpPr>
          <p:nvPr>
            <p:ph sz="quarter" idx="12"/>
          </p:nvPr>
        </p:nvSpPr>
        <p:spPr>
          <a:xfrm>
            <a:off x="1511300" y="2590800"/>
            <a:ext cx="2908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AEDADC7-634A-4BB4-86AA-AB5184E1133C}"/>
              </a:ext>
            </a:extLst>
          </p:cNvPr>
          <p:cNvSpPr>
            <a:spLocks noGrp="1"/>
          </p:cNvSpPr>
          <p:nvPr>
            <p:ph sz="quarter" idx="13"/>
          </p:nvPr>
        </p:nvSpPr>
        <p:spPr>
          <a:xfrm>
            <a:off x="1511300" y="3289300"/>
            <a:ext cx="3009900" cy="353045"/>
          </a:xfrm>
        </p:spPr>
        <p:txBody>
          <a:bodyPr/>
          <a:lstStyle/>
          <a:p>
            <a:pPr lvl="0"/>
            <a:r>
              <a:rPr lang="en-US"/>
              <a:t>Click to edit</a:t>
            </a:r>
          </a:p>
        </p:txBody>
      </p:sp>
      <p:pic>
        <p:nvPicPr>
          <p:cNvPr id="7" name="Picture 2">
            <a:extLst>
              <a:ext uri="{FF2B5EF4-FFF2-40B4-BE49-F238E27FC236}">
                <a16:creationId xmlns:a16="http://schemas.microsoft.com/office/drawing/2014/main" id="{E3113436-4115-4BB8-A47B-0CF4146E3879}"/>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8F9AD81B-A689-4137-B7B6-6EDA350953F7}"/>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11" name="Rectangle 37">
              <a:extLst>
                <a:ext uri="{FF2B5EF4-FFF2-40B4-BE49-F238E27FC236}">
                  <a16:creationId xmlns:a16="http://schemas.microsoft.com/office/drawing/2014/main" id="{4D5E38A7-D62C-4A31-8163-42A10F678F4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D790D413-E745-44F9-9215-1FCEDA58314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B04942EA-3416-42ED-AC68-EF352ED75532}"/>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2F04833A-7BDC-4963-ADD4-098A0858315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5F4E4719-27D3-4A4F-ABA5-0F334756665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AFEDDA48-7B26-42A6-9F58-AC2BCBA054C4}"/>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35997410"/>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F5E7E-EF23-441B-81A0-5729971D602D}"/>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D010445-2946-4BB0-A3C3-03D3B334E895}"/>
              </a:ext>
            </a:extLst>
          </p:cNvPr>
          <p:cNvSpPr>
            <a:spLocks noGrp="1"/>
          </p:cNvSpPr>
          <p:nvPr>
            <p:ph sz="quarter" idx="10"/>
          </p:nvPr>
        </p:nvSpPr>
        <p:spPr>
          <a:xfrm>
            <a:off x="657225" y="1438275"/>
            <a:ext cx="2722563" cy="353045"/>
          </a:xfrm>
        </p:spPr>
        <p:txBody>
          <a:bodyPr/>
          <a:lstStyle/>
          <a:p>
            <a:pPr lvl="0"/>
            <a:r>
              <a:rPr lang="en-US"/>
              <a:t>Click to</a:t>
            </a:r>
          </a:p>
        </p:txBody>
      </p:sp>
      <p:sp>
        <p:nvSpPr>
          <p:cNvPr id="8" name="Content Placeholder 7">
            <a:extLst>
              <a:ext uri="{FF2B5EF4-FFF2-40B4-BE49-F238E27FC236}">
                <a16:creationId xmlns:a16="http://schemas.microsoft.com/office/drawing/2014/main" id="{A6615687-9740-496E-80D8-8D291D4A5AB9}"/>
              </a:ext>
            </a:extLst>
          </p:cNvPr>
          <p:cNvSpPr>
            <a:spLocks noGrp="1"/>
          </p:cNvSpPr>
          <p:nvPr>
            <p:ph sz="quarter" idx="11"/>
          </p:nvPr>
        </p:nvSpPr>
        <p:spPr>
          <a:xfrm>
            <a:off x="739775" y="1941513"/>
            <a:ext cx="2455863" cy="353045"/>
          </a:xfrm>
        </p:spPr>
        <p:txBody>
          <a:bodyPr/>
          <a:lstStyle/>
          <a:p>
            <a:pPr lvl="0"/>
            <a:r>
              <a:rPr lang="en-US"/>
              <a:t>Click to</a:t>
            </a:r>
          </a:p>
        </p:txBody>
      </p:sp>
      <p:sp>
        <p:nvSpPr>
          <p:cNvPr id="10" name="Content Placeholder 9">
            <a:extLst>
              <a:ext uri="{FF2B5EF4-FFF2-40B4-BE49-F238E27FC236}">
                <a16:creationId xmlns:a16="http://schemas.microsoft.com/office/drawing/2014/main" id="{38E1D410-0EC6-455C-BEFC-1B0D992AC724}"/>
              </a:ext>
            </a:extLst>
          </p:cNvPr>
          <p:cNvSpPr>
            <a:spLocks noGrp="1"/>
          </p:cNvSpPr>
          <p:nvPr>
            <p:ph sz="quarter" idx="12"/>
          </p:nvPr>
        </p:nvSpPr>
        <p:spPr>
          <a:xfrm>
            <a:off x="739775" y="2651125"/>
            <a:ext cx="2455863" cy="353045"/>
          </a:xfrm>
        </p:spPr>
        <p:txBody>
          <a:bodyPr/>
          <a:lstStyle/>
          <a:p>
            <a:pPr lvl="0"/>
            <a:r>
              <a:rPr lang="en-US"/>
              <a:t>Click to</a:t>
            </a:r>
          </a:p>
        </p:txBody>
      </p:sp>
      <p:sp>
        <p:nvSpPr>
          <p:cNvPr id="12" name="Content Placeholder 11">
            <a:extLst>
              <a:ext uri="{FF2B5EF4-FFF2-40B4-BE49-F238E27FC236}">
                <a16:creationId xmlns:a16="http://schemas.microsoft.com/office/drawing/2014/main" id="{30CD9148-3594-4864-B141-673431E3BAAD}"/>
              </a:ext>
            </a:extLst>
          </p:cNvPr>
          <p:cNvSpPr>
            <a:spLocks noGrp="1"/>
          </p:cNvSpPr>
          <p:nvPr>
            <p:ph sz="quarter" idx="13"/>
          </p:nvPr>
        </p:nvSpPr>
        <p:spPr>
          <a:xfrm>
            <a:off x="739775" y="3429000"/>
            <a:ext cx="2640013" cy="353045"/>
          </a:xfrm>
        </p:spPr>
        <p:txBody>
          <a:bodyPr/>
          <a:lstStyle/>
          <a:p>
            <a:pPr lvl="0"/>
            <a:r>
              <a:rPr lang="en-US"/>
              <a:t>Click to</a:t>
            </a:r>
          </a:p>
        </p:txBody>
      </p:sp>
      <p:pic>
        <p:nvPicPr>
          <p:cNvPr id="7" name="Picture 2">
            <a:extLst>
              <a:ext uri="{FF2B5EF4-FFF2-40B4-BE49-F238E27FC236}">
                <a16:creationId xmlns:a16="http://schemas.microsoft.com/office/drawing/2014/main" id="{8128D06F-44CA-4105-8597-04ADD33AA83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067F65DC-81B4-4EEB-A2ED-6AE08623D5A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2C1E7DC2-3FA8-41FD-950E-DDEBEB451AC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4AF4A5E5-2D38-44B3-988C-3EC1C686E6C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4BBFFA79-7273-463F-85D4-AE6AB383F08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AF41F5D9-35E1-4E21-A167-DE5E5B607F8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CDE919A6-D15C-4DE4-8310-64D0C85C9D2F}"/>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50CD821F-6E80-41D1-9F07-CD539096059C}"/>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48826980"/>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E685A-4190-48BA-B086-A4479ED6B47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B9DFF7DB-6FE5-41B1-B36C-5E329EFB8F00}"/>
              </a:ext>
            </a:extLst>
          </p:cNvPr>
          <p:cNvSpPr>
            <a:spLocks noGrp="1"/>
          </p:cNvSpPr>
          <p:nvPr>
            <p:ph sz="quarter" idx="10"/>
          </p:nvPr>
        </p:nvSpPr>
        <p:spPr>
          <a:xfrm>
            <a:off x="730250" y="1130300"/>
            <a:ext cx="2516188" cy="353045"/>
          </a:xfrm>
        </p:spPr>
        <p:txBody>
          <a:bodyPr/>
          <a:lstStyle/>
          <a:p>
            <a:pPr lvl="0"/>
            <a:r>
              <a:rPr lang="en-US"/>
              <a:t>Click to</a:t>
            </a:r>
          </a:p>
        </p:txBody>
      </p:sp>
      <p:sp>
        <p:nvSpPr>
          <p:cNvPr id="8" name="Content Placeholder 7">
            <a:extLst>
              <a:ext uri="{FF2B5EF4-FFF2-40B4-BE49-F238E27FC236}">
                <a16:creationId xmlns:a16="http://schemas.microsoft.com/office/drawing/2014/main" id="{CFA556A3-E4E8-453D-841F-04B8999C3BDD}"/>
              </a:ext>
            </a:extLst>
          </p:cNvPr>
          <p:cNvSpPr>
            <a:spLocks noGrp="1"/>
          </p:cNvSpPr>
          <p:nvPr>
            <p:ph sz="quarter" idx="11"/>
          </p:nvPr>
        </p:nvSpPr>
        <p:spPr>
          <a:xfrm>
            <a:off x="730250" y="2074863"/>
            <a:ext cx="2341563" cy="353045"/>
          </a:xfrm>
        </p:spPr>
        <p:txBody>
          <a:bodyPr/>
          <a:lstStyle/>
          <a:p>
            <a:pPr lvl="0"/>
            <a:r>
              <a:rPr lang="en-US"/>
              <a:t>Click to</a:t>
            </a:r>
          </a:p>
        </p:txBody>
      </p:sp>
      <p:sp>
        <p:nvSpPr>
          <p:cNvPr id="10" name="Content Placeholder 9">
            <a:extLst>
              <a:ext uri="{FF2B5EF4-FFF2-40B4-BE49-F238E27FC236}">
                <a16:creationId xmlns:a16="http://schemas.microsoft.com/office/drawing/2014/main" id="{DD82109E-F385-47F6-9826-615D3C37CE9C}"/>
              </a:ext>
            </a:extLst>
          </p:cNvPr>
          <p:cNvSpPr>
            <a:spLocks noGrp="1"/>
          </p:cNvSpPr>
          <p:nvPr>
            <p:ph sz="quarter" idx="12"/>
          </p:nvPr>
        </p:nvSpPr>
        <p:spPr>
          <a:xfrm>
            <a:off x="944563" y="2938463"/>
            <a:ext cx="23018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2437D7BD-EE7E-47B1-998D-F560F9D7749F}"/>
              </a:ext>
            </a:extLst>
          </p:cNvPr>
          <p:cNvSpPr>
            <a:spLocks noGrp="1"/>
          </p:cNvSpPr>
          <p:nvPr>
            <p:ph sz="quarter" idx="13"/>
          </p:nvPr>
        </p:nvSpPr>
        <p:spPr>
          <a:xfrm>
            <a:off x="1376363" y="3760788"/>
            <a:ext cx="2784475" cy="353045"/>
          </a:xfrm>
        </p:spPr>
        <p:txBody>
          <a:bodyPr/>
          <a:lstStyle/>
          <a:p>
            <a:pPr lvl="0"/>
            <a:r>
              <a:rPr lang="en-US"/>
              <a:t>Click to edit</a:t>
            </a:r>
          </a:p>
        </p:txBody>
      </p:sp>
      <p:pic>
        <p:nvPicPr>
          <p:cNvPr id="7" name="Picture 2">
            <a:extLst>
              <a:ext uri="{FF2B5EF4-FFF2-40B4-BE49-F238E27FC236}">
                <a16:creationId xmlns:a16="http://schemas.microsoft.com/office/drawing/2014/main" id="{23FADCF8-BFDC-4AFD-BD6B-091F85F2200F}"/>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4FF9A75C-233F-455B-85B7-9757721939C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61FC0728-9D85-43FB-A8E6-FDE9AEF64D05}"/>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59904A37-924C-40C6-AE9E-F29CB240AD2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51243242-EA00-47A6-8827-96B5422CB13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F750EF1F-BE02-4D04-B06C-B9E467589BB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E896ACC-ABA8-44A9-B792-0191256368AE}"/>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BE74D09B-CD2F-4D2C-859B-52215491CF0F}"/>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78099980"/>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520D2-7919-4522-AB35-DB5F249D6BB6}"/>
              </a:ext>
            </a:extLst>
          </p:cNvPr>
          <p:cNvSpPr>
            <a:spLocks noGrp="1"/>
          </p:cNvSpPr>
          <p:nvPr>
            <p:ph type="title"/>
          </p:nvPr>
        </p:nvSpPr>
        <p:spPr/>
        <p:txBody>
          <a:bodyPr/>
          <a:lstStyle/>
          <a:p>
            <a:r>
              <a:rPr lang="en-US"/>
              <a:t>Click to edit Master title style</a:t>
            </a:r>
          </a:p>
        </p:txBody>
      </p:sp>
      <p:pic>
        <p:nvPicPr>
          <p:cNvPr id="7" name="Picture 2">
            <a:extLst>
              <a:ext uri="{FF2B5EF4-FFF2-40B4-BE49-F238E27FC236}">
                <a16:creationId xmlns:a16="http://schemas.microsoft.com/office/drawing/2014/main" id="{76624EEE-C3D8-45C5-976F-0F24E3BAED6A}"/>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AA4F4BCE-AC44-4C14-B80B-9072CDA19B78}"/>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55AE336D-098F-49B3-8091-720F8859BB7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A86DB1F1-1CB0-4815-BF6F-D53E4C8B869D}"/>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86BBAD07-CEBE-4F21-888D-6C32088B37A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992F5946-23B3-434C-A2D8-B2F27BEBAFC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1BC531A-08F6-4A5A-A799-052122240428}"/>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0BBCFDED-5ABA-434A-8388-0B99C1D7E4C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EC398E59-CEF8-43C0-9862-8DB771DDC504}"/>
              </a:ext>
            </a:extLst>
          </p:cNvPr>
          <p:cNvSpPr>
            <a:spLocks noGrp="1"/>
          </p:cNvSpPr>
          <p:nvPr>
            <p:ph sz="quarter" idx="10"/>
          </p:nvPr>
        </p:nvSpPr>
        <p:spPr>
          <a:xfrm>
            <a:off x="1003300" y="1485900"/>
            <a:ext cx="28067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7FE7635-F50A-416D-87A8-4B6AF232452E}"/>
              </a:ext>
            </a:extLst>
          </p:cNvPr>
          <p:cNvSpPr>
            <a:spLocks noGrp="1"/>
          </p:cNvSpPr>
          <p:nvPr>
            <p:ph sz="quarter" idx="11"/>
          </p:nvPr>
        </p:nvSpPr>
        <p:spPr>
          <a:xfrm>
            <a:off x="1003300" y="2184400"/>
            <a:ext cx="28067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253A85BE-06C5-43B5-B250-FC84FEE7ED61}"/>
              </a:ext>
            </a:extLst>
          </p:cNvPr>
          <p:cNvSpPr>
            <a:spLocks noGrp="1"/>
          </p:cNvSpPr>
          <p:nvPr>
            <p:ph sz="quarter" idx="12"/>
          </p:nvPr>
        </p:nvSpPr>
        <p:spPr>
          <a:xfrm>
            <a:off x="889000" y="2717800"/>
            <a:ext cx="29210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A789F21-2A04-46FB-AE0E-088213F70244}"/>
              </a:ext>
            </a:extLst>
          </p:cNvPr>
          <p:cNvSpPr>
            <a:spLocks noGrp="1"/>
          </p:cNvSpPr>
          <p:nvPr>
            <p:ph sz="quarter" idx="13"/>
          </p:nvPr>
        </p:nvSpPr>
        <p:spPr>
          <a:xfrm>
            <a:off x="1003300" y="3429000"/>
            <a:ext cx="2806700" cy="353045"/>
          </a:xfrm>
        </p:spPr>
        <p:txBody>
          <a:bodyPr/>
          <a:lstStyle/>
          <a:p>
            <a:pPr lvl="0"/>
            <a:r>
              <a:rPr lang="en-US"/>
              <a:t>Click to edit</a:t>
            </a:r>
          </a:p>
        </p:txBody>
      </p:sp>
      <p:sp>
        <p:nvSpPr>
          <p:cNvPr id="4" name="Content Placeholder 3">
            <a:extLst>
              <a:ext uri="{FF2B5EF4-FFF2-40B4-BE49-F238E27FC236}">
                <a16:creationId xmlns:a16="http://schemas.microsoft.com/office/drawing/2014/main" id="{C1ADF3B2-8755-4582-82EE-88B68DE4DD13}"/>
              </a:ext>
            </a:extLst>
          </p:cNvPr>
          <p:cNvSpPr>
            <a:spLocks noGrp="1"/>
          </p:cNvSpPr>
          <p:nvPr>
            <p:ph sz="quarter" idx="14"/>
          </p:nvPr>
        </p:nvSpPr>
        <p:spPr>
          <a:xfrm>
            <a:off x="4381500" y="1257300"/>
            <a:ext cx="1714500" cy="353045"/>
          </a:xfrm>
        </p:spPr>
        <p:txBody>
          <a:bodyPr/>
          <a:lstStyle/>
          <a:p>
            <a:pPr lvl="0"/>
            <a:endParaRPr lang="en-US"/>
          </a:p>
        </p:txBody>
      </p:sp>
      <p:sp>
        <p:nvSpPr>
          <p:cNvPr id="18" name="Content Placeholder 17">
            <a:extLst>
              <a:ext uri="{FF2B5EF4-FFF2-40B4-BE49-F238E27FC236}">
                <a16:creationId xmlns:a16="http://schemas.microsoft.com/office/drawing/2014/main" id="{B968A392-38DA-476B-B55B-8B61A9B9D01D}"/>
              </a:ext>
            </a:extLst>
          </p:cNvPr>
          <p:cNvSpPr>
            <a:spLocks noGrp="1"/>
          </p:cNvSpPr>
          <p:nvPr>
            <p:ph sz="quarter" idx="15"/>
          </p:nvPr>
        </p:nvSpPr>
        <p:spPr>
          <a:xfrm>
            <a:off x="4381500" y="2184400"/>
            <a:ext cx="1714500" cy="353045"/>
          </a:xfrm>
        </p:spPr>
        <p:txBody>
          <a:bodyPr/>
          <a:lstStyle/>
          <a:p>
            <a:pPr lvl="0"/>
            <a:endParaRPr lang="en-US"/>
          </a:p>
        </p:txBody>
      </p:sp>
      <p:sp>
        <p:nvSpPr>
          <p:cNvPr id="20" name="Content Placeholder 19">
            <a:extLst>
              <a:ext uri="{FF2B5EF4-FFF2-40B4-BE49-F238E27FC236}">
                <a16:creationId xmlns:a16="http://schemas.microsoft.com/office/drawing/2014/main" id="{70A94005-5DC4-4ADE-A5FB-1761087061DA}"/>
              </a:ext>
            </a:extLst>
          </p:cNvPr>
          <p:cNvSpPr>
            <a:spLocks noGrp="1"/>
          </p:cNvSpPr>
          <p:nvPr>
            <p:ph sz="quarter" idx="16"/>
          </p:nvPr>
        </p:nvSpPr>
        <p:spPr>
          <a:xfrm>
            <a:off x="4591050" y="2717800"/>
            <a:ext cx="1962150" cy="353045"/>
          </a:xfrm>
        </p:spPr>
        <p:txBody>
          <a:bodyPr/>
          <a:lstStyle/>
          <a:p>
            <a:pPr lvl="0"/>
            <a:endParaRPr lang="en-US"/>
          </a:p>
        </p:txBody>
      </p:sp>
    </p:spTree>
    <p:extLst>
      <p:ext uri="{BB962C8B-B14F-4D97-AF65-F5344CB8AC3E}">
        <p14:creationId xmlns:p14="http://schemas.microsoft.com/office/powerpoint/2010/main" val="564225495"/>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63070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A778E-8FF3-4C28-990D-E5C4D8FA1C1E}"/>
              </a:ext>
            </a:extLst>
          </p:cNvPr>
          <p:cNvSpPr>
            <a:spLocks noGrp="1"/>
          </p:cNvSpPr>
          <p:nvPr>
            <p:ph type="title"/>
          </p:nvPr>
        </p:nvSpPr>
        <p:spPr/>
        <p:txBody>
          <a:bodyPr/>
          <a:lstStyle/>
          <a:p>
            <a:r>
              <a:rPr lang="en-US"/>
              <a:t>Click to edit Master title style</a:t>
            </a:r>
          </a:p>
        </p:txBody>
      </p:sp>
      <p:pic>
        <p:nvPicPr>
          <p:cNvPr id="9" name="Picture 2">
            <a:extLst>
              <a:ext uri="{FF2B5EF4-FFF2-40B4-BE49-F238E27FC236}">
                <a16:creationId xmlns:a16="http://schemas.microsoft.com/office/drawing/2014/main" id="{EA82A9F8-8597-44D7-8F27-9098660F8305}"/>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81000"/>
            <a:extLst>
              <a:ext uri="{28A0092B-C50C-407E-A947-70E740481C1C}">
                <a14:useLocalDpi xmlns:a14="http://schemas.microsoft.com/office/drawing/2010/main" val="0"/>
              </a:ext>
            </a:extLst>
          </a:blip>
          <a:srcRect/>
          <a:stretch/>
        </p:blipFill>
        <p:spPr bwMode="auto">
          <a:xfrm flipH="1">
            <a:off x="-1" y="0"/>
            <a:ext cx="12230518"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2955E4-7458-4FA6-AEA5-A28927F97CC4}"/>
              </a:ext>
              <a:ext uri="{C183D7F6-B498-43B3-948B-1728B52AA6E4}">
                <adec:decorative xmlns:adec="http://schemas.microsoft.com/office/drawing/2017/decorative" val="1"/>
              </a:ext>
            </a:extLst>
          </p:cNvPr>
          <p:cNvSpPr/>
          <p:nvPr userDrawn="1"/>
        </p:nvSpPr>
        <p:spPr bwMode="auto">
          <a:xfrm>
            <a:off x="-1" y="-1"/>
            <a:ext cx="12230520" cy="959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7EE5520A-B5EC-4901-A71E-6A9B97976D1E}"/>
              </a:ext>
            </a:extLst>
          </p:cNvPr>
          <p:cNvSpPr>
            <a:spLocks noGrp="1"/>
          </p:cNvSpPr>
          <p:nvPr>
            <p:ph sz="quarter" idx="10"/>
          </p:nvPr>
        </p:nvSpPr>
        <p:spPr>
          <a:xfrm>
            <a:off x="889000" y="1638300"/>
            <a:ext cx="2260600" cy="353045"/>
          </a:xfrm>
        </p:spPr>
        <p:txBody>
          <a:bodyPr/>
          <a:lstStyle/>
          <a:p>
            <a:pPr lvl="0"/>
            <a:r>
              <a:rPr lang="en-US"/>
              <a:t>Click to</a:t>
            </a:r>
          </a:p>
        </p:txBody>
      </p:sp>
      <p:sp>
        <p:nvSpPr>
          <p:cNvPr id="6" name="Content Placeholder 5">
            <a:extLst>
              <a:ext uri="{FF2B5EF4-FFF2-40B4-BE49-F238E27FC236}">
                <a16:creationId xmlns:a16="http://schemas.microsoft.com/office/drawing/2014/main" id="{AF80C848-28C6-4363-BAF6-49DBBC48C785}"/>
              </a:ext>
            </a:extLst>
          </p:cNvPr>
          <p:cNvSpPr>
            <a:spLocks noGrp="1"/>
          </p:cNvSpPr>
          <p:nvPr>
            <p:ph sz="quarter" idx="11"/>
          </p:nvPr>
        </p:nvSpPr>
        <p:spPr>
          <a:xfrm>
            <a:off x="889000" y="2349500"/>
            <a:ext cx="2362200" cy="353045"/>
          </a:xfrm>
        </p:spPr>
        <p:txBody>
          <a:bodyPr/>
          <a:lstStyle/>
          <a:p>
            <a:pPr lvl="0"/>
            <a:r>
              <a:rPr lang="en-US"/>
              <a:t>Click to</a:t>
            </a:r>
          </a:p>
        </p:txBody>
      </p:sp>
      <p:sp>
        <p:nvSpPr>
          <p:cNvPr id="8" name="Content Placeholder 7">
            <a:extLst>
              <a:ext uri="{FF2B5EF4-FFF2-40B4-BE49-F238E27FC236}">
                <a16:creationId xmlns:a16="http://schemas.microsoft.com/office/drawing/2014/main" id="{E51A830F-DB1A-4F77-9E32-42A2D7354FA1}"/>
              </a:ext>
            </a:extLst>
          </p:cNvPr>
          <p:cNvSpPr>
            <a:spLocks noGrp="1"/>
          </p:cNvSpPr>
          <p:nvPr>
            <p:ph sz="quarter" idx="12"/>
          </p:nvPr>
        </p:nvSpPr>
        <p:spPr>
          <a:xfrm>
            <a:off x="889000" y="3263900"/>
            <a:ext cx="2476500" cy="353045"/>
          </a:xfrm>
        </p:spPr>
        <p:txBody>
          <a:bodyPr/>
          <a:lstStyle/>
          <a:p>
            <a:pPr lvl="0"/>
            <a:r>
              <a:rPr lang="en-US"/>
              <a:t>Click to</a:t>
            </a:r>
          </a:p>
        </p:txBody>
      </p:sp>
      <p:sp>
        <p:nvSpPr>
          <p:cNvPr id="10" name="Content Placeholder 9">
            <a:extLst>
              <a:ext uri="{FF2B5EF4-FFF2-40B4-BE49-F238E27FC236}">
                <a16:creationId xmlns:a16="http://schemas.microsoft.com/office/drawing/2014/main" id="{5AD25264-EBA2-4FB5-9B4B-9FD5F395AE90}"/>
              </a:ext>
            </a:extLst>
          </p:cNvPr>
          <p:cNvSpPr>
            <a:spLocks noGrp="1"/>
          </p:cNvSpPr>
          <p:nvPr>
            <p:ph sz="quarter" idx="13"/>
          </p:nvPr>
        </p:nvSpPr>
        <p:spPr>
          <a:xfrm>
            <a:off x="4356100" y="1485900"/>
            <a:ext cx="25654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D641ECA3-50F3-498A-9C8A-1C4A4C009E2A}"/>
              </a:ext>
            </a:extLst>
          </p:cNvPr>
          <p:cNvSpPr>
            <a:spLocks noGrp="1"/>
          </p:cNvSpPr>
          <p:nvPr>
            <p:ph sz="quarter" idx="14"/>
          </p:nvPr>
        </p:nvSpPr>
        <p:spPr>
          <a:xfrm>
            <a:off x="4445000" y="2184400"/>
            <a:ext cx="24765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2D7AE6F-2E9B-44FE-B18F-11F3968CA0AF}"/>
              </a:ext>
            </a:extLst>
          </p:cNvPr>
          <p:cNvSpPr>
            <a:spLocks noGrp="1"/>
          </p:cNvSpPr>
          <p:nvPr>
            <p:ph sz="quarter" idx="15"/>
          </p:nvPr>
        </p:nvSpPr>
        <p:spPr>
          <a:xfrm>
            <a:off x="4445000" y="2832100"/>
            <a:ext cx="2705100" cy="353045"/>
          </a:xfrm>
        </p:spPr>
        <p:txBody>
          <a:bodyPr/>
          <a:lstStyle/>
          <a:p>
            <a:pPr lvl="0"/>
            <a:r>
              <a:rPr lang="en-US"/>
              <a:t>Click to</a:t>
            </a:r>
          </a:p>
        </p:txBody>
      </p:sp>
    </p:spTree>
    <p:extLst>
      <p:ext uri="{BB962C8B-B14F-4D97-AF65-F5344CB8AC3E}">
        <p14:creationId xmlns:p14="http://schemas.microsoft.com/office/powerpoint/2010/main" val="3315591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6348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5" name="Picture 2">
            <a:extLst>
              <a:ext uri="{FF2B5EF4-FFF2-40B4-BE49-F238E27FC236}">
                <a16:creationId xmlns:a16="http://schemas.microsoft.com/office/drawing/2014/main" id="{C1C48E34-C93B-42AF-914A-EC1C074A03DB}"/>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contrast="5200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26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24542496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3232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80C1B708-6811-4AE8-A075-0E372A11E34A}"/>
              </a:ext>
            </a:extLst>
          </p:cNvPr>
          <p:cNvSpPr>
            <a:spLocks noGrp="1"/>
          </p:cNvSpPr>
          <p:nvPr>
            <p:ph sz="quarter" idx="10"/>
          </p:nvPr>
        </p:nvSpPr>
        <p:spPr>
          <a:xfrm>
            <a:off x="901700" y="1498600"/>
            <a:ext cx="3378200" cy="353045"/>
          </a:xfrm>
        </p:spPr>
        <p:txBody>
          <a:bodyPr/>
          <a:lstStyle/>
          <a:p>
            <a:pPr lvl="0"/>
            <a:r>
              <a:rPr lang="en-US"/>
              <a:t>Click to edit</a:t>
            </a:r>
          </a:p>
        </p:txBody>
      </p:sp>
      <p:grpSp>
        <p:nvGrpSpPr>
          <p:cNvPr id="6" name="bank">
            <a:extLst>
              <a:ext uri="{FF2B5EF4-FFF2-40B4-BE49-F238E27FC236}">
                <a16:creationId xmlns:a16="http://schemas.microsoft.com/office/drawing/2014/main" id="{03E4EE1E-EECD-4592-BFF6-5079D3865EAC}"/>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7" name="Freeform: Shape 6">
              <a:extLst>
                <a:ext uri="{FF2B5EF4-FFF2-40B4-BE49-F238E27FC236}">
                  <a16:creationId xmlns:a16="http://schemas.microsoft.com/office/drawing/2014/main" id="{5855A2B6-40BE-4742-B1FC-5AF63228916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22D290E-6618-4A3E-8805-AFCFD9741EC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72FEA4C4-98BC-45D8-BD40-17BEFC044C60}"/>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DBE4FA7-7FBB-4B83-BA4D-4E7497E27D8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E3AB603-F4B6-4245-B197-90293169A3FF}"/>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993525E-E527-476A-8AB1-98059A1E84E5}"/>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C1B8DC2-6FD6-46AF-A92E-B478D28436DF}"/>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01A1688C-21C9-4CD1-BD29-2201EFA1F55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432130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2C6CF553-571D-4967-8358-E1E76D951F4B}"/>
              </a:ext>
            </a:extLst>
          </p:cNvPr>
          <p:cNvSpPr>
            <a:spLocks noGrp="1"/>
          </p:cNvSpPr>
          <p:nvPr>
            <p:ph sz="quarter" idx="10"/>
          </p:nvPr>
        </p:nvSpPr>
        <p:spPr>
          <a:xfrm>
            <a:off x="639763" y="1465263"/>
            <a:ext cx="2973387" cy="353045"/>
          </a:xfrm>
        </p:spPr>
        <p:txBody>
          <a:bodyPr/>
          <a:lstStyle/>
          <a:p>
            <a:pPr lvl="0"/>
            <a:r>
              <a:rPr lang="en-US"/>
              <a:t>Click to edit</a:t>
            </a:r>
          </a:p>
        </p:txBody>
      </p:sp>
      <p:grpSp>
        <p:nvGrpSpPr>
          <p:cNvPr id="6" name="bank">
            <a:extLst>
              <a:ext uri="{FF2B5EF4-FFF2-40B4-BE49-F238E27FC236}">
                <a16:creationId xmlns:a16="http://schemas.microsoft.com/office/drawing/2014/main" id="{3E3A37D3-E6EC-499B-9DB0-E2DC88174E7E}"/>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4469012A-8B04-4DDE-9C68-456C90544946}"/>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AD5C642-8952-4232-B50E-B8113D36219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08EE3AF-3F4C-4A01-8439-E8FC53A6B2ED}"/>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F3280D5-680E-4574-8164-CEC173E91935}"/>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56639668-6E9A-4ED4-BE14-CDDF9E770FA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B8FFE14-A269-430B-B1D9-294C49D7215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312F6A5-BC8A-4D14-B796-0D98BDED49DA}"/>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19993EE-7F74-44E1-90A9-14625548A36D}"/>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03552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E0584F47-82B7-47B5-A286-17F68266789D}"/>
              </a:ext>
            </a:extLst>
          </p:cNvPr>
          <p:cNvSpPr>
            <a:spLocks noGrp="1"/>
          </p:cNvSpPr>
          <p:nvPr>
            <p:ph sz="quarter" idx="10"/>
          </p:nvPr>
        </p:nvSpPr>
        <p:spPr>
          <a:xfrm>
            <a:off x="1041400" y="1841500"/>
            <a:ext cx="3873500"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2068E5D1-F10C-4602-9C20-0ADF46CBC595}"/>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73364E65-15B8-4E87-A467-E2ABAFEBC71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BFB8CE05-FF58-4146-9212-78E19073BB9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01BEE337-868B-41B4-A4DF-D4B684FFF012}"/>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5D8FB635-4A9E-410F-B444-FB02B5BF3AA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1085D53E-DA00-46F8-85AE-F5B101772D8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19BC1141-A45E-44F8-9230-54735C3B1AF7}"/>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6183975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1ADBC4D-34C6-44BC-A704-F93770B0E9B8}"/>
              </a:ext>
            </a:extLst>
          </p:cNvPr>
          <p:cNvSpPr>
            <a:spLocks noGrp="1"/>
          </p:cNvSpPr>
          <p:nvPr>
            <p:ph sz="quarter" idx="10"/>
          </p:nvPr>
        </p:nvSpPr>
        <p:spPr>
          <a:xfrm>
            <a:off x="319088" y="1465263"/>
            <a:ext cx="2865437"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7228F8D2-8A04-49A7-A4C5-22839CAD129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0185D938-3C15-4F00-8E2C-B434E36A65F8}"/>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E421880A-1855-42F4-8812-378C0D96825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B611DBA9-373F-4ABB-9668-BF958ED6599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2478B04F-7813-45EF-8BE2-C3C766FA921A}"/>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66880F21-7DCF-4828-B154-C097F0FBBD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DD5C6644-9519-4AB4-BFC9-17DCC0FF12F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943190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amp; Subtit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16296A0-25A0-42B5-BB12-BF0CCD8A17D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extplatzhalter 8">
            <a:extLst>
              <a:ext uri="{FF2B5EF4-FFF2-40B4-BE49-F238E27FC236}">
                <a16:creationId xmlns:a16="http://schemas.microsoft.com/office/drawing/2014/main" id="{1C090D76-33A8-478C-B72A-47D316D8E2B5}"/>
              </a:ext>
            </a:extLst>
          </p:cNvPr>
          <p:cNvSpPr>
            <a:spLocks noGrp="1"/>
          </p:cNvSpPr>
          <p:nvPr>
            <p:ph type="body" sz="quarter" idx="10" hasCustomPrompt="1"/>
          </p:nvPr>
        </p:nvSpPr>
        <p:spPr>
          <a:xfrm>
            <a:off x="478563" y="342375"/>
            <a:ext cx="8691402" cy="855357"/>
          </a:xfrm>
          <a:prstGeom prst="rect">
            <a:avLst/>
          </a:prstGeom>
        </p:spPr>
        <p:txBody>
          <a:bodyPr>
            <a:noAutofit/>
          </a:bodyPr>
          <a:lstStyle>
            <a:lvl1pPr marL="0" indent="0">
              <a:buNone/>
              <a:defRPr sz="4400">
                <a:solidFill>
                  <a:schemeClr val="bg1"/>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a:t>Title</a:t>
            </a:r>
            <a:endParaRPr lang="en-US"/>
          </a:p>
        </p:txBody>
      </p:sp>
      <p:sp>
        <p:nvSpPr>
          <p:cNvPr id="10" name="Textplatzhalter 8">
            <a:extLst>
              <a:ext uri="{FF2B5EF4-FFF2-40B4-BE49-F238E27FC236}">
                <a16:creationId xmlns:a16="http://schemas.microsoft.com/office/drawing/2014/main" id="{22A5C96B-0776-466D-8428-AD093934776A}"/>
              </a:ext>
            </a:extLst>
          </p:cNvPr>
          <p:cNvSpPr>
            <a:spLocks noGrp="1"/>
          </p:cNvSpPr>
          <p:nvPr>
            <p:ph type="body" sz="quarter" idx="11" hasCustomPrompt="1"/>
          </p:nvPr>
        </p:nvSpPr>
        <p:spPr>
          <a:xfrm>
            <a:off x="463183" y="1023282"/>
            <a:ext cx="8691402" cy="855357"/>
          </a:xfrm>
          <a:prstGeom prst="rect">
            <a:avLst/>
          </a:prstGeom>
        </p:spPr>
        <p:txBody>
          <a:bodyPr>
            <a:noAutofit/>
          </a:bodyPr>
          <a:lstStyle>
            <a:lvl1pPr marL="0" indent="0">
              <a:buNone/>
              <a:defRPr sz="4400">
                <a:solidFill>
                  <a:srgbClr val="FFC000"/>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err="1"/>
              <a:t>Subline</a:t>
            </a:r>
            <a:endParaRPr lang="en-US"/>
          </a:p>
        </p:txBody>
      </p:sp>
    </p:spTree>
    <p:extLst>
      <p:ext uri="{BB962C8B-B14F-4D97-AF65-F5344CB8AC3E}">
        <p14:creationId xmlns:p14="http://schemas.microsoft.com/office/powerpoint/2010/main" val="644608783"/>
      </p:ext>
    </p:extLst>
  </p:cSld>
  <p:clrMapOvr>
    <a:masterClrMapping/>
  </p:clrMapOvr>
  <p:transition>
    <p:fade/>
  </p:transition>
  <p:extLst>
    <p:ext uri="{DCECCB84-F9BA-43D5-87BE-67443E8EF086}">
      <p15:sldGuideLst xmlns:p15="http://schemas.microsoft.com/office/powerpoint/2012/main">
        <p15:guide id="1" orient="horz" pos="210">
          <p15:clr>
            <a:srgbClr val="FBAE40"/>
          </p15:clr>
        </p15:guide>
        <p15:guide id="2" pos="3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879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3502856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0735791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3656832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378249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6438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4554983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09511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8683438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7354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02383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56746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758780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44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933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95784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96DD8A-7A2C-42B3-8EBE-5AEC6DBDE9BD}"/>
              </a:ext>
            </a:extLst>
          </p:cNvPr>
          <p:cNvSpPr>
            <a:spLocks noGrp="1"/>
          </p:cNvSpPr>
          <p:nvPr>
            <p:ph type="dt" sz="half" idx="10"/>
          </p:nvPr>
        </p:nvSpPr>
        <p:spPr/>
        <p:txBody>
          <a:bodyPr/>
          <a:lstStyle/>
          <a:p>
            <a:fld id="{403E37E9-697E-40B0-A4D8-1819B2F11A99}" type="datetimeFigureOut">
              <a:rPr lang="en-US" smtClean="0"/>
              <a:t>2/13/2023</a:t>
            </a:fld>
            <a:endParaRPr lang="en-US"/>
          </a:p>
        </p:txBody>
      </p:sp>
      <p:sp>
        <p:nvSpPr>
          <p:cNvPr id="3" name="Footer Placeholder 2">
            <a:extLst>
              <a:ext uri="{FF2B5EF4-FFF2-40B4-BE49-F238E27FC236}">
                <a16:creationId xmlns:a16="http://schemas.microsoft.com/office/drawing/2014/main" id="{8543A61B-16E5-463D-8051-00C753DC03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14F2DF-6E06-4E81-92D8-111A885B73D7}"/>
              </a:ext>
            </a:extLst>
          </p:cNvPr>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42371288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933650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3E37E9-697E-40B0-A4D8-1819B2F11A99}" type="datetimeFigureOut">
              <a:rPr lang="en-US" smtClean="0"/>
              <a:t>2/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40168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5536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3367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50894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689355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715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021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507312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2/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865750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5026939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4497611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3E37E9-697E-40B0-A4D8-1819B2F11A99}" type="datetimeFigureOut">
              <a:rPr lang="en-US" smtClean="0"/>
              <a:t>2/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0045496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909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39809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61852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255328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914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787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5809967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814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A69BF3-C6AB-4008-B3D7-8A1577D28086}"/>
              </a:ext>
            </a:extLst>
          </p:cNvPr>
          <p:cNvSpPr>
            <a:spLocks noGrp="1"/>
          </p:cNvSpPr>
          <p:nvPr>
            <p:ph sz="quarter" idx="10"/>
          </p:nvPr>
        </p:nvSpPr>
        <p:spPr>
          <a:xfrm>
            <a:off x="427038" y="1295400"/>
            <a:ext cx="3675062"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B849A6E6-B730-43D2-9065-D2202AE605FE}"/>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52A5104-3884-4881-B247-D23B24DA51D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D1D95C20-466E-467B-8AC7-B4A3EB7F8B54}"/>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50A781FD-62CF-499C-9B05-8B0A0802787C}"/>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7EDCE3D0-3B62-4DF9-A982-F793E90FE12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96839117-1D9E-4B5D-B15B-76FB9E8B56CF}"/>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A2D73BEF-8965-40C9-94A3-70FFD0268F5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1509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1A62B-E9B8-407A-A211-41A60D9E984E}"/>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56D2DFBC-48B6-45AA-9617-4AE23F331240}"/>
              </a:ext>
            </a:extLst>
          </p:cNvPr>
          <p:cNvSpPr>
            <a:spLocks noGrp="1"/>
          </p:cNvSpPr>
          <p:nvPr>
            <p:ph sz="quarter" idx="10"/>
          </p:nvPr>
        </p:nvSpPr>
        <p:spPr>
          <a:xfrm>
            <a:off x="427038" y="1333500"/>
            <a:ext cx="2252662" cy="353045"/>
          </a:xfrm>
        </p:spPr>
        <p:txBody>
          <a:bodyPr/>
          <a:lstStyle/>
          <a:p>
            <a:pPr lvl="0"/>
            <a:r>
              <a:rPr lang="en-US"/>
              <a:t>Click to edit</a:t>
            </a:r>
          </a:p>
        </p:txBody>
      </p:sp>
      <p:sp>
        <p:nvSpPr>
          <p:cNvPr id="7" name="Content Placeholder 6">
            <a:extLst>
              <a:ext uri="{FF2B5EF4-FFF2-40B4-BE49-F238E27FC236}">
                <a16:creationId xmlns:a16="http://schemas.microsoft.com/office/drawing/2014/main" id="{63409A51-6426-4EFA-AE06-D312DEC6AFC7}"/>
              </a:ext>
            </a:extLst>
          </p:cNvPr>
          <p:cNvSpPr>
            <a:spLocks noGrp="1"/>
          </p:cNvSpPr>
          <p:nvPr>
            <p:ph sz="quarter" idx="11"/>
          </p:nvPr>
        </p:nvSpPr>
        <p:spPr>
          <a:xfrm>
            <a:off x="427038" y="2006600"/>
            <a:ext cx="2252662" cy="353045"/>
          </a:xfrm>
        </p:spPr>
        <p:txBody>
          <a:bodyPr/>
          <a:lstStyle/>
          <a:p>
            <a:pPr lvl="0"/>
            <a:r>
              <a:rPr lang="en-US"/>
              <a:t>Click to edit</a:t>
            </a:r>
          </a:p>
        </p:txBody>
      </p:sp>
      <p:sp>
        <p:nvSpPr>
          <p:cNvPr id="9" name="Content Placeholder 8">
            <a:extLst>
              <a:ext uri="{FF2B5EF4-FFF2-40B4-BE49-F238E27FC236}">
                <a16:creationId xmlns:a16="http://schemas.microsoft.com/office/drawing/2014/main" id="{F1E8A947-D3B3-4E8B-B43A-CA6CB04C91A0}"/>
              </a:ext>
            </a:extLst>
          </p:cNvPr>
          <p:cNvSpPr>
            <a:spLocks noGrp="1"/>
          </p:cNvSpPr>
          <p:nvPr>
            <p:ph sz="quarter" idx="12"/>
          </p:nvPr>
        </p:nvSpPr>
        <p:spPr>
          <a:xfrm>
            <a:off x="427038" y="2641600"/>
            <a:ext cx="22526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649908D-61FE-4B1E-9243-A93FD18FC51F}"/>
              </a:ext>
            </a:extLst>
          </p:cNvPr>
          <p:cNvSpPr>
            <a:spLocks noGrp="1"/>
          </p:cNvSpPr>
          <p:nvPr>
            <p:ph sz="quarter" idx="13"/>
          </p:nvPr>
        </p:nvSpPr>
        <p:spPr>
          <a:xfrm>
            <a:off x="427038" y="3225800"/>
            <a:ext cx="2252662"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A1279F8B-2312-42B9-8C96-7E12EC510891}"/>
              </a:ext>
            </a:extLst>
          </p:cNvPr>
          <p:cNvSpPr>
            <a:spLocks noGrp="1"/>
          </p:cNvSpPr>
          <p:nvPr>
            <p:ph sz="quarter" idx="14"/>
          </p:nvPr>
        </p:nvSpPr>
        <p:spPr>
          <a:xfrm>
            <a:off x="427038" y="3848100"/>
            <a:ext cx="2252662"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472689B-55D9-492A-A91B-EECCF66982DD}"/>
              </a:ext>
            </a:extLst>
          </p:cNvPr>
          <p:cNvSpPr>
            <a:spLocks noGrp="1"/>
          </p:cNvSpPr>
          <p:nvPr>
            <p:ph sz="quarter" idx="15"/>
          </p:nvPr>
        </p:nvSpPr>
        <p:spPr>
          <a:xfrm>
            <a:off x="427038" y="4483100"/>
            <a:ext cx="22526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4A172167-599F-4964-B1EE-40A387C5F5AD}"/>
              </a:ext>
            </a:extLst>
          </p:cNvPr>
          <p:cNvSpPr>
            <a:spLocks noGrp="1"/>
          </p:cNvSpPr>
          <p:nvPr>
            <p:ph sz="quarter" idx="16"/>
          </p:nvPr>
        </p:nvSpPr>
        <p:spPr>
          <a:xfrm>
            <a:off x="427038" y="5118100"/>
            <a:ext cx="2341562"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9701E76C-6016-49EF-AE5B-E223753D653D}"/>
              </a:ext>
            </a:extLst>
          </p:cNvPr>
          <p:cNvSpPr>
            <a:spLocks noGrp="1"/>
          </p:cNvSpPr>
          <p:nvPr>
            <p:ph sz="quarter" idx="17"/>
          </p:nvPr>
        </p:nvSpPr>
        <p:spPr>
          <a:xfrm>
            <a:off x="3441700" y="1333500"/>
            <a:ext cx="2044700" cy="353045"/>
          </a:xfrm>
        </p:spPr>
        <p:txBody>
          <a:bodyPr/>
          <a:lstStyle/>
          <a:p>
            <a:pPr lvl="0"/>
            <a:r>
              <a:rPr lang="en-US"/>
              <a:t>Click to edit</a:t>
            </a:r>
          </a:p>
        </p:txBody>
      </p:sp>
      <p:sp>
        <p:nvSpPr>
          <p:cNvPr id="21" name="Content Placeholder 20">
            <a:extLst>
              <a:ext uri="{FF2B5EF4-FFF2-40B4-BE49-F238E27FC236}">
                <a16:creationId xmlns:a16="http://schemas.microsoft.com/office/drawing/2014/main" id="{6453DC57-9237-4CAE-813A-853466AEA705}"/>
              </a:ext>
            </a:extLst>
          </p:cNvPr>
          <p:cNvSpPr>
            <a:spLocks noGrp="1"/>
          </p:cNvSpPr>
          <p:nvPr>
            <p:ph sz="quarter" idx="18"/>
          </p:nvPr>
        </p:nvSpPr>
        <p:spPr>
          <a:xfrm>
            <a:off x="3441700" y="1905000"/>
            <a:ext cx="2044700" cy="353045"/>
          </a:xfrm>
        </p:spPr>
        <p:txBody>
          <a:bodyPr/>
          <a:lstStyle/>
          <a:p>
            <a:pPr lvl="0"/>
            <a:r>
              <a:rPr lang="en-US"/>
              <a:t>Click to edit</a:t>
            </a:r>
          </a:p>
        </p:txBody>
      </p:sp>
      <p:sp>
        <p:nvSpPr>
          <p:cNvPr id="23" name="Content Placeholder 22">
            <a:extLst>
              <a:ext uri="{FF2B5EF4-FFF2-40B4-BE49-F238E27FC236}">
                <a16:creationId xmlns:a16="http://schemas.microsoft.com/office/drawing/2014/main" id="{BF0D500E-1516-4E33-B1C4-D168C65E27C9}"/>
              </a:ext>
            </a:extLst>
          </p:cNvPr>
          <p:cNvSpPr>
            <a:spLocks noGrp="1"/>
          </p:cNvSpPr>
          <p:nvPr>
            <p:ph sz="quarter" idx="19"/>
          </p:nvPr>
        </p:nvSpPr>
        <p:spPr>
          <a:xfrm>
            <a:off x="3441700" y="2489200"/>
            <a:ext cx="2133600"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3663DAC7-E04B-4793-B685-B87CFC7E8A3A}"/>
              </a:ext>
            </a:extLst>
          </p:cNvPr>
          <p:cNvSpPr>
            <a:spLocks noGrp="1"/>
          </p:cNvSpPr>
          <p:nvPr>
            <p:ph sz="quarter" idx="20"/>
          </p:nvPr>
        </p:nvSpPr>
        <p:spPr>
          <a:xfrm>
            <a:off x="3543300" y="3225800"/>
            <a:ext cx="19431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DFE74D89-973C-4F1C-92C4-48DF66520AD0}"/>
              </a:ext>
            </a:extLst>
          </p:cNvPr>
          <p:cNvSpPr>
            <a:spLocks noGrp="1"/>
          </p:cNvSpPr>
          <p:nvPr>
            <p:ph sz="quarter" idx="21"/>
          </p:nvPr>
        </p:nvSpPr>
        <p:spPr>
          <a:xfrm>
            <a:off x="3441700" y="3759200"/>
            <a:ext cx="2252663" cy="353045"/>
          </a:xfrm>
        </p:spPr>
        <p:txBody>
          <a:bodyPr/>
          <a:lstStyle/>
          <a:p>
            <a:pPr lvl="0"/>
            <a:r>
              <a:rPr lang="en-US"/>
              <a:t>Click to edit</a:t>
            </a:r>
          </a:p>
        </p:txBody>
      </p:sp>
    </p:spTree>
    <p:extLst>
      <p:ext uri="{BB962C8B-B14F-4D97-AF65-F5344CB8AC3E}">
        <p14:creationId xmlns:p14="http://schemas.microsoft.com/office/powerpoint/2010/main" val="3960731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3E37E9-697E-40B0-A4D8-1819B2F11A99}" type="datetimeFigureOut">
              <a:rPr lang="en-US" smtClean="0"/>
              <a:t>2/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623577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4EEF65-9067-4A7E-A7E4-A25B72C03BC0}"/>
              </a:ext>
            </a:extLst>
          </p:cNvPr>
          <p:cNvSpPr>
            <a:spLocks noGrp="1"/>
          </p:cNvSpPr>
          <p:nvPr>
            <p:ph sz="quarter" idx="10"/>
          </p:nvPr>
        </p:nvSpPr>
        <p:spPr>
          <a:xfrm>
            <a:off x="698500" y="1422400"/>
            <a:ext cx="3606800" cy="353045"/>
          </a:xfrm>
        </p:spPr>
        <p:txBody>
          <a:bodyPr/>
          <a:lstStyle/>
          <a:p>
            <a:pPr lvl="0"/>
            <a:r>
              <a:rPr lang="en-US"/>
              <a:t>Click to</a:t>
            </a:r>
          </a:p>
        </p:txBody>
      </p:sp>
      <p:sp>
        <p:nvSpPr>
          <p:cNvPr id="5" name="Content Placeholder 2">
            <a:extLst>
              <a:ext uri="{FF2B5EF4-FFF2-40B4-BE49-F238E27FC236}">
                <a16:creationId xmlns:a16="http://schemas.microsoft.com/office/drawing/2014/main" id="{ACEBB7F6-83D0-46FA-B3DD-BA51387588A4}"/>
              </a:ext>
            </a:extLst>
          </p:cNvPr>
          <p:cNvSpPr>
            <a:spLocks noGrp="1"/>
          </p:cNvSpPr>
          <p:nvPr>
            <p:ph sz="quarter" idx="11"/>
          </p:nvPr>
        </p:nvSpPr>
        <p:spPr>
          <a:xfrm>
            <a:off x="698500" y="1965778"/>
            <a:ext cx="3606800" cy="353045"/>
          </a:xfrm>
        </p:spPr>
        <p:txBody>
          <a:bodyPr/>
          <a:lstStyle/>
          <a:p>
            <a:pPr lvl="0"/>
            <a:r>
              <a:rPr lang="en-US"/>
              <a:t>Click to</a:t>
            </a:r>
          </a:p>
        </p:txBody>
      </p:sp>
      <p:sp>
        <p:nvSpPr>
          <p:cNvPr id="6" name="Content Placeholder 2">
            <a:extLst>
              <a:ext uri="{FF2B5EF4-FFF2-40B4-BE49-F238E27FC236}">
                <a16:creationId xmlns:a16="http://schemas.microsoft.com/office/drawing/2014/main" id="{CB99BAB9-989F-41AF-A7A3-D02B9C58027D}"/>
              </a:ext>
            </a:extLst>
          </p:cNvPr>
          <p:cNvSpPr>
            <a:spLocks noGrp="1"/>
          </p:cNvSpPr>
          <p:nvPr>
            <p:ph sz="quarter" idx="12"/>
          </p:nvPr>
        </p:nvSpPr>
        <p:spPr>
          <a:xfrm>
            <a:off x="698500" y="2509156"/>
            <a:ext cx="3606800" cy="353045"/>
          </a:xfrm>
        </p:spPr>
        <p:txBody>
          <a:bodyPr/>
          <a:lstStyle/>
          <a:p>
            <a:pPr lvl="0"/>
            <a:r>
              <a:rPr lang="en-US"/>
              <a:t>Click to</a:t>
            </a:r>
          </a:p>
        </p:txBody>
      </p:sp>
      <p:sp>
        <p:nvSpPr>
          <p:cNvPr id="34" name="Rectangle: Rounded Corners 33">
            <a:extLst>
              <a:ext uri="{FF2B5EF4-FFF2-40B4-BE49-F238E27FC236}">
                <a16:creationId xmlns:a16="http://schemas.microsoft.com/office/drawing/2014/main" id="{5184F183-5CC3-4DC6-ABD1-FCE922BADE34}"/>
              </a:ext>
              <a:ext uri="{C183D7F6-B498-43B3-948B-1728B52AA6E4}">
                <adec:decorative xmlns:adec="http://schemas.microsoft.com/office/drawing/2017/decorative" val="1"/>
              </a:ext>
            </a:extLst>
          </p:cNvPr>
          <p:cNvSpPr/>
          <p:nvPr userDrawn="1"/>
        </p:nvSpPr>
        <p:spPr bwMode="auto">
          <a:xfrm>
            <a:off x="8203746"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7F0B2708-80A5-4C41-A4EC-29D5F1A39722}"/>
              </a:ext>
              <a:ext uri="{C183D7F6-B498-43B3-948B-1728B52AA6E4}">
                <adec:decorative xmlns:adec="http://schemas.microsoft.com/office/drawing/2017/decorative" val="1"/>
              </a:ext>
            </a:extLst>
          </p:cNvPr>
          <p:cNvSpPr/>
          <p:nvPr userDrawn="1"/>
        </p:nvSpPr>
        <p:spPr bwMode="auto">
          <a:xfrm>
            <a:off x="1068393" y="3027489"/>
            <a:ext cx="2979408" cy="1350339"/>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6" name="Rectangle: Rounded Corners 35">
            <a:extLst>
              <a:ext uri="{FF2B5EF4-FFF2-40B4-BE49-F238E27FC236}">
                <a16:creationId xmlns:a16="http://schemas.microsoft.com/office/drawing/2014/main" id="{4B8B9796-28F6-4D49-BA79-EA0CCEE785CD}"/>
              </a:ext>
              <a:ext uri="{C183D7F6-B498-43B3-948B-1728B52AA6E4}">
                <adec:decorative xmlns:adec="http://schemas.microsoft.com/office/drawing/2017/decorative" val="1"/>
              </a:ext>
            </a:extLst>
          </p:cNvPr>
          <p:cNvSpPr/>
          <p:nvPr userDrawn="1"/>
        </p:nvSpPr>
        <p:spPr bwMode="auto">
          <a:xfrm>
            <a:off x="4568754"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Tree>
    <p:extLst>
      <p:ext uri="{BB962C8B-B14F-4D97-AF65-F5344CB8AC3E}">
        <p14:creationId xmlns:p14="http://schemas.microsoft.com/office/powerpoint/2010/main" val="140201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DBBB03-5C07-482D-9B48-ED787FE5130F}"/>
              </a:ext>
            </a:extLst>
          </p:cNvPr>
          <p:cNvSpPr>
            <a:spLocks noGrp="1"/>
          </p:cNvSpPr>
          <p:nvPr>
            <p:ph sz="quarter" idx="10"/>
          </p:nvPr>
        </p:nvSpPr>
        <p:spPr>
          <a:xfrm>
            <a:off x="584200" y="2032000"/>
            <a:ext cx="2057400" cy="353045"/>
          </a:xfrm>
        </p:spPr>
        <p:txBody>
          <a:bodyPr/>
          <a:lstStyle/>
          <a:p>
            <a:pPr lvl="0"/>
            <a:r>
              <a:rPr lang="en-US"/>
              <a:t>Click to</a:t>
            </a:r>
          </a:p>
        </p:txBody>
      </p:sp>
      <p:sp>
        <p:nvSpPr>
          <p:cNvPr id="6" name="Content Placeholder 5">
            <a:extLst>
              <a:ext uri="{FF2B5EF4-FFF2-40B4-BE49-F238E27FC236}">
                <a16:creationId xmlns:a16="http://schemas.microsoft.com/office/drawing/2014/main" id="{6E00B81D-C64E-4C56-AA55-1D8A28C7A8EB}"/>
              </a:ext>
            </a:extLst>
          </p:cNvPr>
          <p:cNvSpPr>
            <a:spLocks noGrp="1"/>
          </p:cNvSpPr>
          <p:nvPr>
            <p:ph sz="quarter" idx="11"/>
          </p:nvPr>
        </p:nvSpPr>
        <p:spPr>
          <a:xfrm>
            <a:off x="584200" y="2819400"/>
            <a:ext cx="2057400" cy="352425"/>
          </a:xfrm>
        </p:spPr>
        <p:txBody>
          <a:bodyPr/>
          <a:lstStyle/>
          <a:p>
            <a:pPr lvl="0"/>
            <a:r>
              <a:rPr lang="en-US"/>
              <a:t>Click to</a:t>
            </a:r>
          </a:p>
        </p:txBody>
      </p:sp>
      <p:sp>
        <p:nvSpPr>
          <p:cNvPr id="8" name="Content Placeholder 7">
            <a:extLst>
              <a:ext uri="{FF2B5EF4-FFF2-40B4-BE49-F238E27FC236}">
                <a16:creationId xmlns:a16="http://schemas.microsoft.com/office/drawing/2014/main" id="{EB4C4BB7-0BDD-4548-8DEE-4125D3204738}"/>
              </a:ext>
            </a:extLst>
          </p:cNvPr>
          <p:cNvSpPr>
            <a:spLocks noGrp="1"/>
          </p:cNvSpPr>
          <p:nvPr>
            <p:ph sz="quarter" idx="12"/>
          </p:nvPr>
        </p:nvSpPr>
        <p:spPr>
          <a:xfrm>
            <a:off x="749300" y="3784600"/>
            <a:ext cx="2743200" cy="353045"/>
          </a:xfrm>
        </p:spPr>
        <p:txBody>
          <a:bodyPr/>
          <a:lstStyle/>
          <a:p>
            <a:pPr lvl="0"/>
            <a:r>
              <a:rPr lang="en-US"/>
              <a:t>Click to</a:t>
            </a:r>
          </a:p>
        </p:txBody>
      </p:sp>
    </p:spTree>
    <p:extLst>
      <p:ext uri="{BB962C8B-B14F-4D97-AF65-F5344CB8AC3E}">
        <p14:creationId xmlns:p14="http://schemas.microsoft.com/office/powerpoint/2010/main" val="881056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B77924-787D-4313-9390-F63CF71FDA79}"/>
              </a:ext>
            </a:extLst>
          </p:cNvPr>
          <p:cNvSpPr>
            <a:spLocks noGrp="1"/>
          </p:cNvSpPr>
          <p:nvPr>
            <p:ph sz="quarter" idx="10" hasCustomPrompt="1"/>
          </p:nvPr>
        </p:nvSpPr>
        <p:spPr>
          <a:xfrm>
            <a:off x="427038" y="1181100"/>
            <a:ext cx="1808162" cy="353045"/>
          </a:xfrm>
        </p:spPr>
        <p:txBody>
          <a:bodyPr/>
          <a:lstStyle/>
          <a:p>
            <a:pPr lvl="0"/>
            <a:r>
              <a:rPr lang="en-US"/>
              <a:t>Click level</a:t>
            </a:r>
          </a:p>
        </p:txBody>
      </p:sp>
      <p:sp>
        <p:nvSpPr>
          <p:cNvPr id="6" name="Content Placeholder 5">
            <a:extLst>
              <a:ext uri="{FF2B5EF4-FFF2-40B4-BE49-F238E27FC236}">
                <a16:creationId xmlns:a16="http://schemas.microsoft.com/office/drawing/2014/main" id="{C9C5556D-6A80-4691-95BF-02E7C4A1B860}"/>
              </a:ext>
            </a:extLst>
          </p:cNvPr>
          <p:cNvSpPr>
            <a:spLocks noGrp="1"/>
          </p:cNvSpPr>
          <p:nvPr>
            <p:ph sz="quarter" idx="11"/>
          </p:nvPr>
        </p:nvSpPr>
        <p:spPr>
          <a:xfrm>
            <a:off x="520700" y="1803400"/>
            <a:ext cx="1524000" cy="352425"/>
          </a:xfrm>
        </p:spPr>
        <p:txBody>
          <a:bodyPr/>
          <a:lstStyle/>
          <a:p>
            <a:pPr lvl="0"/>
            <a:r>
              <a:rPr lang="en-US"/>
              <a:t>Click</a:t>
            </a:r>
          </a:p>
        </p:txBody>
      </p:sp>
      <p:sp>
        <p:nvSpPr>
          <p:cNvPr id="8" name="Content Placeholder 7">
            <a:extLst>
              <a:ext uri="{FF2B5EF4-FFF2-40B4-BE49-F238E27FC236}">
                <a16:creationId xmlns:a16="http://schemas.microsoft.com/office/drawing/2014/main" id="{83182114-9055-43D4-BF9A-DC20CCF726C2}"/>
              </a:ext>
            </a:extLst>
          </p:cNvPr>
          <p:cNvSpPr>
            <a:spLocks noGrp="1"/>
          </p:cNvSpPr>
          <p:nvPr>
            <p:ph sz="quarter" idx="12"/>
          </p:nvPr>
        </p:nvSpPr>
        <p:spPr>
          <a:xfrm>
            <a:off x="520700" y="2362200"/>
            <a:ext cx="1524000" cy="352425"/>
          </a:xfrm>
        </p:spPr>
        <p:txBody>
          <a:bodyPr/>
          <a:lstStyle/>
          <a:p>
            <a:pPr lvl="0"/>
            <a:r>
              <a:rPr lang="en-US"/>
              <a:t>Click</a:t>
            </a:r>
          </a:p>
        </p:txBody>
      </p:sp>
      <p:sp>
        <p:nvSpPr>
          <p:cNvPr id="10" name="Content Placeholder 9">
            <a:extLst>
              <a:ext uri="{FF2B5EF4-FFF2-40B4-BE49-F238E27FC236}">
                <a16:creationId xmlns:a16="http://schemas.microsoft.com/office/drawing/2014/main" id="{1E2730B7-2271-4700-B920-4C00EA537FC9}"/>
              </a:ext>
            </a:extLst>
          </p:cNvPr>
          <p:cNvSpPr>
            <a:spLocks noGrp="1"/>
          </p:cNvSpPr>
          <p:nvPr>
            <p:ph sz="quarter" idx="13"/>
          </p:nvPr>
        </p:nvSpPr>
        <p:spPr>
          <a:xfrm>
            <a:off x="330200" y="2984500"/>
            <a:ext cx="1625600" cy="353045"/>
          </a:xfrm>
        </p:spPr>
        <p:txBody>
          <a:bodyPr/>
          <a:lstStyle/>
          <a:p>
            <a:pPr lvl="0"/>
            <a:r>
              <a:rPr lang="en-US"/>
              <a:t>Click</a:t>
            </a:r>
          </a:p>
        </p:txBody>
      </p:sp>
      <p:sp>
        <p:nvSpPr>
          <p:cNvPr id="12" name="Content Placeholder 11">
            <a:extLst>
              <a:ext uri="{FF2B5EF4-FFF2-40B4-BE49-F238E27FC236}">
                <a16:creationId xmlns:a16="http://schemas.microsoft.com/office/drawing/2014/main" id="{46661821-986E-4B01-BFBF-F50A601C6CBE}"/>
              </a:ext>
            </a:extLst>
          </p:cNvPr>
          <p:cNvSpPr>
            <a:spLocks noGrp="1"/>
          </p:cNvSpPr>
          <p:nvPr>
            <p:ph sz="quarter" idx="14"/>
          </p:nvPr>
        </p:nvSpPr>
        <p:spPr>
          <a:xfrm>
            <a:off x="520700" y="3429000"/>
            <a:ext cx="1435100" cy="353045"/>
          </a:xfrm>
        </p:spPr>
        <p:txBody>
          <a:bodyPr/>
          <a:lstStyle/>
          <a:p>
            <a:pPr lvl="0"/>
            <a:r>
              <a:rPr lang="en-US"/>
              <a:t>Click</a:t>
            </a:r>
          </a:p>
        </p:txBody>
      </p:sp>
      <p:sp>
        <p:nvSpPr>
          <p:cNvPr id="14" name="Content Placeholder 13">
            <a:extLst>
              <a:ext uri="{FF2B5EF4-FFF2-40B4-BE49-F238E27FC236}">
                <a16:creationId xmlns:a16="http://schemas.microsoft.com/office/drawing/2014/main" id="{65A4AC6C-D13C-4169-9876-569C678F9D2A}"/>
              </a:ext>
            </a:extLst>
          </p:cNvPr>
          <p:cNvSpPr>
            <a:spLocks noGrp="1"/>
          </p:cNvSpPr>
          <p:nvPr>
            <p:ph sz="quarter" idx="15" hasCustomPrompt="1"/>
          </p:nvPr>
        </p:nvSpPr>
        <p:spPr>
          <a:xfrm>
            <a:off x="520700" y="3937000"/>
            <a:ext cx="1435100" cy="353045"/>
          </a:xfrm>
        </p:spPr>
        <p:txBody>
          <a:bodyPr/>
          <a:lstStyle/>
          <a:p>
            <a:pPr lvl="0"/>
            <a:r>
              <a:rPr lang="en-US"/>
              <a:t>Click l</a:t>
            </a:r>
          </a:p>
        </p:txBody>
      </p:sp>
      <p:sp>
        <p:nvSpPr>
          <p:cNvPr id="16" name="Content Placeholder 15">
            <a:extLst>
              <a:ext uri="{FF2B5EF4-FFF2-40B4-BE49-F238E27FC236}">
                <a16:creationId xmlns:a16="http://schemas.microsoft.com/office/drawing/2014/main" id="{DF5AF660-125E-48C6-B6C2-B14BCC1114D6}"/>
              </a:ext>
            </a:extLst>
          </p:cNvPr>
          <p:cNvSpPr>
            <a:spLocks noGrp="1"/>
          </p:cNvSpPr>
          <p:nvPr>
            <p:ph sz="quarter" idx="16"/>
          </p:nvPr>
        </p:nvSpPr>
        <p:spPr>
          <a:xfrm>
            <a:off x="635000" y="4457700"/>
            <a:ext cx="1600200" cy="361950"/>
          </a:xfrm>
        </p:spPr>
        <p:txBody>
          <a:bodyPr/>
          <a:lstStyle/>
          <a:p>
            <a:pPr lvl="0"/>
            <a:r>
              <a:rPr lang="en-US"/>
              <a:t>Click</a:t>
            </a:r>
          </a:p>
        </p:txBody>
      </p:sp>
      <p:sp>
        <p:nvSpPr>
          <p:cNvPr id="18" name="Content Placeholder 17">
            <a:extLst>
              <a:ext uri="{FF2B5EF4-FFF2-40B4-BE49-F238E27FC236}">
                <a16:creationId xmlns:a16="http://schemas.microsoft.com/office/drawing/2014/main" id="{07A3F112-04B1-437A-B112-49906641B0D7}"/>
              </a:ext>
            </a:extLst>
          </p:cNvPr>
          <p:cNvSpPr>
            <a:spLocks noGrp="1"/>
          </p:cNvSpPr>
          <p:nvPr>
            <p:ph sz="quarter" idx="17"/>
          </p:nvPr>
        </p:nvSpPr>
        <p:spPr>
          <a:xfrm>
            <a:off x="635000" y="5029200"/>
            <a:ext cx="1689100" cy="353045"/>
          </a:xfrm>
        </p:spPr>
        <p:txBody>
          <a:bodyPr/>
          <a:lstStyle/>
          <a:p>
            <a:pPr lvl="0"/>
            <a:r>
              <a:rPr lang="en-US"/>
              <a:t>Click</a:t>
            </a:r>
          </a:p>
        </p:txBody>
      </p:sp>
      <p:sp>
        <p:nvSpPr>
          <p:cNvPr id="20" name="Content Placeholder 19">
            <a:extLst>
              <a:ext uri="{FF2B5EF4-FFF2-40B4-BE49-F238E27FC236}">
                <a16:creationId xmlns:a16="http://schemas.microsoft.com/office/drawing/2014/main" id="{54B4208C-1B47-4BA5-A4A0-A64F73A1B6C9}"/>
              </a:ext>
            </a:extLst>
          </p:cNvPr>
          <p:cNvSpPr>
            <a:spLocks noGrp="1"/>
          </p:cNvSpPr>
          <p:nvPr>
            <p:ph sz="quarter" idx="18"/>
          </p:nvPr>
        </p:nvSpPr>
        <p:spPr>
          <a:xfrm>
            <a:off x="749300" y="5537200"/>
            <a:ext cx="1574800" cy="353045"/>
          </a:xfrm>
        </p:spPr>
        <p:txBody>
          <a:bodyPr/>
          <a:lstStyle/>
          <a:p>
            <a:pPr lvl="0"/>
            <a:r>
              <a:rPr lang="en-US"/>
              <a:t>Click</a:t>
            </a:r>
          </a:p>
        </p:txBody>
      </p:sp>
      <p:sp>
        <p:nvSpPr>
          <p:cNvPr id="22" name="Content Placeholder 21">
            <a:extLst>
              <a:ext uri="{FF2B5EF4-FFF2-40B4-BE49-F238E27FC236}">
                <a16:creationId xmlns:a16="http://schemas.microsoft.com/office/drawing/2014/main" id="{6CA03C15-1D1F-49D1-A82D-6E971073980C}"/>
              </a:ext>
            </a:extLst>
          </p:cNvPr>
          <p:cNvSpPr>
            <a:spLocks noGrp="1"/>
          </p:cNvSpPr>
          <p:nvPr>
            <p:ph sz="quarter" idx="19"/>
          </p:nvPr>
        </p:nvSpPr>
        <p:spPr>
          <a:xfrm>
            <a:off x="2628900" y="1181100"/>
            <a:ext cx="18081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8C4A8F56-5596-4AD6-B088-F1058E73A9C4}"/>
              </a:ext>
            </a:extLst>
          </p:cNvPr>
          <p:cNvSpPr>
            <a:spLocks noGrp="1"/>
          </p:cNvSpPr>
          <p:nvPr>
            <p:ph sz="quarter" idx="20"/>
          </p:nvPr>
        </p:nvSpPr>
        <p:spPr>
          <a:xfrm>
            <a:off x="2628900" y="1663700"/>
            <a:ext cx="1524000" cy="353045"/>
          </a:xfrm>
        </p:spPr>
        <p:txBody>
          <a:bodyPr/>
          <a:lstStyle/>
          <a:p>
            <a:pPr lvl="0"/>
            <a:r>
              <a:rPr lang="en-US"/>
              <a:t>Click</a:t>
            </a:r>
          </a:p>
        </p:txBody>
      </p:sp>
      <p:sp>
        <p:nvSpPr>
          <p:cNvPr id="26" name="Content Placeholder 25">
            <a:extLst>
              <a:ext uri="{FF2B5EF4-FFF2-40B4-BE49-F238E27FC236}">
                <a16:creationId xmlns:a16="http://schemas.microsoft.com/office/drawing/2014/main" id="{F0B1ED6C-BA65-477F-BE77-AD78B87DC965}"/>
              </a:ext>
            </a:extLst>
          </p:cNvPr>
          <p:cNvSpPr>
            <a:spLocks noGrp="1"/>
          </p:cNvSpPr>
          <p:nvPr>
            <p:ph sz="quarter" idx="21"/>
          </p:nvPr>
        </p:nvSpPr>
        <p:spPr>
          <a:xfrm>
            <a:off x="2501900" y="2273300"/>
            <a:ext cx="1371600" cy="352425"/>
          </a:xfrm>
        </p:spPr>
        <p:txBody>
          <a:bodyPr/>
          <a:lstStyle/>
          <a:p>
            <a:pPr lvl="0"/>
            <a:r>
              <a:rPr lang="en-US"/>
              <a:t>Click</a:t>
            </a:r>
          </a:p>
        </p:txBody>
      </p:sp>
      <p:sp>
        <p:nvSpPr>
          <p:cNvPr id="28" name="Content Placeholder 27">
            <a:extLst>
              <a:ext uri="{FF2B5EF4-FFF2-40B4-BE49-F238E27FC236}">
                <a16:creationId xmlns:a16="http://schemas.microsoft.com/office/drawing/2014/main" id="{1A43B952-449D-4A99-A166-585129F6215A}"/>
              </a:ext>
            </a:extLst>
          </p:cNvPr>
          <p:cNvSpPr>
            <a:spLocks noGrp="1"/>
          </p:cNvSpPr>
          <p:nvPr>
            <p:ph sz="quarter" idx="22"/>
          </p:nvPr>
        </p:nvSpPr>
        <p:spPr>
          <a:xfrm>
            <a:off x="2501900" y="2984500"/>
            <a:ext cx="1117600" cy="353045"/>
          </a:xfrm>
        </p:spPr>
        <p:txBody>
          <a:bodyPr/>
          <a:lstStyle/>
          <a:p>
            <a:pPr lvl="0"/>
            <a:r>
              <a:rPr lang="en-US"/>
              <a:t>Click</a:t>
            </a:r>
          </a:p>
        </p:txBody>
      </p:sp>
      <p:sp>
        <p:nvSpPr>
          <p:cNvPr id="30" name="Content Placeholder 29">
            <a:extLst>
              <a:ext uri="{FF2B5EF4-FFF2-40B4-BE49-F238E27FC236}">
                <a16:creationId xmlns:a16="http://schemas.microsoft.com/office/drawing/2014/main" id="{8760F197-403F-4993-848C-EF06AFC6314A}"/>
              </a:ext>
            </a:extLst>
          </p:cNvPr>
          <p:cNvSpPr>
            <a:spLocks noGrp="1"/>
          </p:cNvSpPr>
          <p:nvPr>
            <p:ph sz="quarter" idx="23"/>
          </p:nvPr>
        </p:nvSpPr>
        <p:spPr>
          <a:xfrm>
            <a:off x="2565400" y="3556000"/>
            <a:ext cx="1371600" cy="353045"/>
          </a:xfrm>
        </p:spPr>
        <p:txBody>
          <a:bodyPr/>
          <a:lstStyle/>
          <a:p>
            <a:pPr lvl="0"/>
            <a:r>
              <a:rPr lang="en-US"/>
              <a:t>Click</a:t>
            </a:r>
          </a:p>
        </p:txBody>
      </p:sp>
      <p:sp>
        <p:nvSpPr>
          <p:cNvPr id="32" name="Content Placeholder 31">
            <a:extLst>
              <a:ext uri="{FF2B5EF4-FFF2-40B4-BE49-F238E27FC236}">
                <a16:creationId xmlns:a16="http://schemas.microsoft.com/office/drawing/2014/main" id="{21BA7DD7-73BB-48E5-BAD0-E11827ACDFBC}"/>
              </a:ext>
            </a:extLst>
          </p:cNvPr>
          <p:cNvSpPr>
            <a:spLocks noGrp="1"/>
          </p:cNvSpPr>
          <p:nvPr>
            <p:ph sz="quarter" idx="24"/>
          </p:nvPr>
        </p:nvSpPr>
        <p:spPr>
          <a:xfrm>
            <a:off x="2565400" y="4064000"/>
            <a:ext cx="1371600" cy="353045"/>
          </a:xfrm>
        </p:spPr>
        <p:txBody>
          <a:bodyPr/>
          <a:lstStyle/>
          <a:p>
            <a:pPr lvl="0"/>
            <a:r>
              <a:rPr lang="en-US"/>
              <a:t>Click</a:t>
            </a:r>
          </a:p>
        </p:txBody>
      </p:sp>
      <p:sp>
        <p:nvSpPr>
          <p:cNvPr id="34" name="Content Placeholder 33">
            <a:extLst>
              <a:ext uri="{FF2B5EF4-FFF2-40B4-BE49-F238E27FC236}">
                <a16:creationId xmlns:a16="http://schemas.microsoft.com/office/drawing/2014/main" id="{9437F52B-B953-4DB1-9A7C-85402932A455}"/>
              </a:ext>
            </a:extLst>
          </p:cNvPr>
          <p:cNvSpPr>
            <a:spLocks noGrp="1"/>
          </p:cNvSpPr>
          <p:nvPr>
            <p:ph sz="quarter" idx="25"/>
          </p:nvPr>
        </p:nvSpPr>
        <p:spPr>
          <a:xfrm>
            <a:off x="2768600" y="4622800"/>
            <a:ext cx="1790700" cy="353045"/>
          </a:xfrm>
        </p:spPr>
        <p:txBody>
          <a:bodyPr/>
          <a:lstStyle/>
          <a:p>
            <a:pPr lvl="0"/>
            <a:r>
              <a:rPr lang="en-US"/>
              <a:t>Click</a:t>
            </a:r>
          </a:p>
        </p:txBody>
      </p:sp>
      <p:sp>
        <p:nvSpPr>
          <p:cNvPr id="36" name="Content Placeholder 35">
            <a:extLst>
              <a:ext uri="{FF2B5EF4-FFF2-40B4-BE49-F238E27FC236}">
                <a16:creationId xmlns:a16="http://schemas.microsoft.com/office/drawing/2014/main" id="{FFB3D2EC-585B-495F-AC51-6CEE6F4C72FE}"/>
              </a:ext>
            </a:extLst>
          </p:cNvPr>
          <p:cNvSpPr>
            <a:spLocks noGrp="1"/>
          </p:cNvSpPr>
          <p:nvPr>
            <p:ph sz="quarter" idx="26"/>
          </p:nvPr>
        </p:nvSpPr>
        <p:spPr>
          <a:xfrm>
            <a:off x="2933700" y="5207000"/>
            <a:ext cx="1625600" cy="353045"/>
          </a:xfrm>
        </p:spPr>
        <p:txBody>
          <a:bodyPr/>
          <a:lstStyle/>
          <a:p>
            <a:pPr lvl="0"/>
            <a:r>
              <a:rPr lang="en-US"/>
              <a:t>Click</a:t>
            </a:r>
          </a:p>
        </p:txBody>
      </p:sp>
      <p:sp>
        <p:nvSpPr>
          <p:cNvPr id="38" name="Content Placeholder 37">
            <a:extLst>
              <a:ext uri="{FF2B5EF4-FFF2-40B4-BE49-F238E27FC236}">
                <a16:creationId xmlns:a16="http://schemas.microsoft.com/office/drawing/2014/main" id="{22F05AAC-BC93-4DDD-A958-4E0B12D91CD7}"/>
              </a:ext>
            </a:extLst>
          </p:cNvPr>
          <p:cNvSpPr>
            <a:spLocks noGrp="1"/>
          </p:cNvSpPr>
          <p:nvPr>
            <p:ph sz="quarter" idx="27"/>
          </p:nvPr>
        </p:nvSpPr>
        <p:spPr>
          <a:xfrm>
            <a:off x="5105400" y="1181100"/>
            <a:ext cx="2197100" cy="353045"/>
          </a:xfrm>
        </p:spPr>
        <p:txBody>
          <a:bodyPr/>
          <a:lstStyle/>
          <a:p>
            <a:pPr lvl="0"/>
            <a:r>
              <a:rPr lang="en-US"/>
              <a:t>Click</a:t>
            </a:r>
          </a:p>
        </p:txBody>
      </p:sp>
      <p:sp>
        <p:nvSpPr>
          <p:cNvPr id="40" name="Content Placeholder 39">
            <a:extLst>
              <a:ext uri="{FF2B5EF4-FFF2-40B4-BE49-F238E27FC236}">
                <a16:creationId xmlns:a16="http://schemas.microsoft.com/office/drawing/2014/main" id="{1BA16DD1-1715-4830-BF1C-CCA1A57949B6}"/>
              </a:ext>
            </a:extLst>
          </p:cNvPr>
          <p:cNvSpPr>
            <a:spLocks noGrp="1"/>
          </p:cNvSpPr>
          <p:nvPr>
            <p:ph sz="quarter" idx="28"/>
          </p:nvPr>
        </p:nvSpPr>
        <p:spPr>
          <a:xfrm>
            <a:off x="4559300" y="1803400"/>
            <a:ext cx="1930400" cy="353045"/>
          </a:xfrm>
        </p:spPr>
        <p:txBody>
          <a:bodyPr/>
          <a:lstStyle/>
          <a:p>
            <a:pPr lvl="0"/>
            <a:r>
              <a:rPr lang="en-US"/>
              <a:t>Click to</a:t>
            </a:r>
          </a:p>
        </p:txBody>
      </p:sp>
      <p:sp>
        <p:nvSpPr>
          <p:cNvPr id="42" name="Content Placeholder 41">
            <a:extLst>
              <a:ext uri="{FF2B5EF4-FFF2-40B4-BE49-F238E27FC236}">
                <a16:creationId xmlns:a16="http://schemas.microsoft.com/office/drawing/2014/main" id="{494CCBEF-07CC-40FB-B941-A5FB0772313A}"/>
              </a:ext>
            </a:extLst>
          </p:cNvPr>
          <p:cNvSpPr>
            <a:spLocks noGrp="1"/>
          </p:cNvSpPr>
          <p:nvPr>
            <p:ph sz="quarter" idx="29"/>
          </p:nvPr>
        </p:nvSpPr>
        <p:spPr>
          <a:xfrm>
            <a:off x="4889500" y="2489200"/>
            <a:ext cx="1790700" cy="353045"/>
          </a:xfrm>
        </p:spPr>
        <p:txBody>
          <a:bodyPr/>
          <a:lstStyle/>
          <a:p>
            <a:pPr lvl="0"/>
            <a:r>
              <a:rPr lang="en-US"/>
              <a:t>Click to</a:t>
            </a:r>
          </a:p>
        </p:txBody>
      </p:sp>
      <p:sp>
        <p:nvSpPr>
          <p:cNvPr id="44" name="Content Placeholder 43">
            <a:extLst>
              <a:ext uri="{FF2B5EF4-FFF2-40B4-BE49-F238E27FC236}">
                <a16:creationId xmlns:a16="http://schemas.microsoft.com/office/drawing/2014/main" id="{3D8064D2-02BD-47B8-92AA-59266D61B853}"/>
              </a:ext>
            </a:extLst>
          </p:cNvPr>
          <p:cNvSpPr>
            <a:spLocks noGrp="1"/>
          </p:cNvSpPr>
          <p:nvPr>
            <p:ph sz="quarter" idx="30"/>
          </p:nvPr>
        </p:nvSpPr>
        <p:spPr>
          <a:xfrm>
            <a:off x="4775200" y="3073400"/>
            <a:ext cx="1905000" cy="353045"/>
          </a:xfrm>
        </p:spPr>
        <p:txBody>
          <a:bodyPr/>
          <a:lstStyle/>
          <a:p>
            <a:pPr lvl="0"/>
            <a:r>
              <a:rPr lang="en-US"/>
              <a:t>Click to</a:t>
            </a:r>
          </a:p>
        </p:txBody>
      </p:sp>
      <p:sp>
        <p:nvSpPr>
          <p:cNvPr id="46" name="Content Placeholder 45">
            <a:extLst>
              <a:ext uri="{FF2B5EF4-FFF2-40B4-BE49-F238E27FC236}">
                <a16:creationId xmlns:a16="http://schemas.microsoft.com/office/drawing/2014/main" id="{B3C96F25-AD78-4E90-BF50-C6FFE000D0C8}"/>
              </a:ext>
            </a:extLst>
          </p:cNvPr>
          <p:cNvSpPr>
            <a:spLocks noGrp="1"/>
          </p:cNvSpPr>
          <p:nvPr>
            <p:ph sz="quarter" idx="31"/>
          </p:nvPr>
        </p:nvSpPr>
        <p:spPr>
          <a:xfrm>
            <a:off x="4889500" y="3556000"/>
            <a:ext cx="1435100" cy="353045"/>
          </a:xfrm>
        </p:spPr>
        <p:txBody>
          <a:bodyPr/>
          <a:lstStyle/>
          <a:p>
            <a:pPr lvl="0"/>
            <a:r>
              <a:rPr lang="en-US"/>
              <a:t>Click</a:t>
            </a:r>
          </a:p>
        </p:txBody>
      </p:sp>
      <p:sp>
        <p:nvSpPr>
          <p:cNvPr id="48" name="Content Placeholder 47">
            <a:extLst>
              <a:ext uri="{FF2B5EF4-FFF2-40B4-BE49-F238E27FC236}">
                <a16:creationId xmlns:a16="http://schemas.microsoft.com/office/drawing/2014/main" id="{9D6F8C12-E803-40F0-8B07-485B19491918}"/>
              </a:ext>
            </a:extLst>
          </p:cNvPr>
          <p:cNvSpPr>
            <a:spLocks noGrp="1"/>
          </p:cNvSpPr>
          <p:nvPr>
            <p:ph sz="quarter" idx="32"/>
          </p:nvPr>
        </p:nvSpPr>
        <p:spPr>
          <a:xfrm>
            <a:off x="5321300" y="4064000"/>
            <a:ext cx="1435100" cy="353045"/>
          </a:xfrm>
        </p:spPr>
        <p:txBody>
          <a:bodyPr/>
          <a:lstStyle/>
          <a:p>
            <a:pPr lvl="0"/>
            <a:r>
              <a:rPr lang="en-US"/>
              <a:t>Click</a:t>
            </a:r>
          </a:p>
        </p:txBody>
      </p:sp>
      <p:sp>
        <p:nvSpPr>
          <p:cNvPr id="50" name="Content Placeholder 49">
            <a:extLst>
              <a:ext uri="{FF2B5EF4-FFF2-40B4-BE49-F238E27FC236}">
                <a16:creationId xmlns:a16="http://schemas.microsoft.com/office/drawing/2014/main" id="{01013081-0E24-4211-A74E-DBDCD7736236}"/>
              </a:ext>
            </a:extLst>
          </p:cNvPr>
          <p:cNvSpPr>
            <a:spLocks noGrp="1"/>
          </p:cNvSpPr>
          <p:nvPr>
            <p:ph sz="quarter" idx="33"/>
          </p:nvPr>
        </p:nvSpPr>
        <p:spPr>
          <a:xfrm>
            <a:off x="5105400" y="4622800"/>
            <a:ext cx="1219200" cy="353045"/>
          </a:xfrm>
        </p:spPr>
        <p:txBody>
          <a:bodyPr/>
          <a:lstStyle/>
          <a:p>
            <a:pPr lvl="0"/>
            <a:r>
              <a:rPr lang="en-US"/>
              <a:t>Click</a:t>
            </a:r>
          </a:p>
        </p:txBody>
      </p:sp>
      <p:sp>
        <p:nvSpPr>
          <p:cNvPr id="52" name="Content Placeholder 51">
            <a:extLst>
              <a:ext uri="{FF2B5EF4-FFF2-40B4-BE49-F238E27FC236}">
                <a16:creationId xmlns:a16="http://schemas.microsoft.com/office/drawing/2014/main" id="{E320E91F-C2E8-49CF-89EF-ADBEF9445CDF}"/>
              </a:ext>
            </a:extLst>
          </p:cNvPr>
          <p:cNvSpPr>
            <a:spLocks noGrp="1"/>
          </p:cNvSpPr>
          <p:nvPr>
            <p:ph sz="quarter" idx="34"/>
          </p:nvPr>
        </p:nvSpPr>
        <p:spPr>
          <a:xfrm>
            <a:off x="8001000" y="1181100"/>
            <a:ext cx="1808163" cy="353045"/>
          </a:xfrm>
        </p:spPr>
        <p:txBody>
          <a:bodyPr/>
          <a:lstStyle/>
          <a:p>
            <a:pPr lvl="0"/>
            <a:r>
              <a:rPr lang="en-US"/>
              <a:t>Click to</a:t>
            </a:r>
          </a:p>
        </p:txBody>
      </p:sp>
      <p:sp>
        <p:nvSpPr>
          <p:cNvPr id="54" name="Content Placeholder 53">
            <a:extLst>
              <a:ext uri="{FF2B5EF4-FFF2-40B4-BE49-F238E27FC236}">
                <a16:creationId xmlns:a16="http://schemas.microsoft.com/office/drawing/2014/main" id="{C30033FE-7879-496F-9CC0-AD282EDF73F4}"/>
              </a:ext>
            </a:extLst>
          </p:cNvPr>
          <p:cNvSpPr>
            <a:spLocks noGrp="1"/>
          </p:cNvSpPr>
          <p:nvPr>
            <p:ph sz="quarter" idx="35"/>
          </p:nvPr>
        </p:nvSpPr>
        <p:spPr>
          <a:xfrm>
            <a:off x="7632700" y="1803400"/>
            <a:ext cx="1808163" cy="353045"/>
          </a:xfrm>
        </p:spPr>
        <p:txBody>
          <a:bodyPr/>
          <a:lstStyle/>
          <a:p>
            <a:pPr lvl="0"/>
            <a:r>
              <a:rPr lang="en-US"/>
              <a:t>Click to</a:t>
            </a:r>
          </a:p>
        </p:txBody>
      </p:sp>
      <p:sp>
        <p:nvSpPr>
          <p:cNvPr id="56" name="Content Placeholder 55">
            <a:extLst>
              <a:ext uri="{FF2B5EF4-FFF2-40B4-BE49-F238E27FC236}">
                <a16:creationId xmlns:a16="http://schemas.microsoft.com/office/drawing/2014/main" id="{1B3B2DD1-9341-4871-92AF-B88539678EC6}"/>
              </a:ext>
            </a:extLst>
          </p:cNvPr>
          <p:cNvSpPr>
            <a:spLocks noGrp="1"/>
          </p:cNvSpPr>
          <p:nvPr>
            <p:ph sz="quarter" idx="36"/>
          </p:nvPr>
        </p:nvSpPr>
        <p:spPr>
          <a:xfrm>
            <a:off x="7480300" y="2273300"/>
            <a:ext cx="1689100" cy="353045"/>
          </a:xfrm>
        </p:spPr>
        <p:txBody>
          <a:bodyPr/>
          <a:lstStyle/>
          <a:p>
            <a:pPr lvl="0"/>
            <a:r>
              <a:rPr lang="en-US"/>
              <a:t>Click to</a:t>
            </a:r>
          </a:p>
        </p:txBody>
      </p:sp>
      <p:sp>
        <p:nvSpPr>
          <p:cNvPr id="58" name="Content Placeholder 57">
            <a:extLst>
              <a:ext uri="{FF2B5EF4-FFF2-40B4-BE49-F238E27FC236}">
                <a16:creationId xmlns:a16="http://schemas.microsoft.com/office/drawing/2014/main" id="{F2228A6B-8F5F-4530-A50E-FC6236B5A0AE}"/>
              </a:ext>
            </a:extLst>
          </p:cNvPr>
          <p:cNvSpPr>
            <a:spLocks noGrp="1"/>
          </p:cNvSpPr>
          <p:nvPr>
            <p:ph sz="quarter" idx="37"/>
          </p:nvPr>
        </p:nvSpPr>
        <p:spPr>
          <a:xfrm>
            <a:off x="7480300" y="2841625"/>
            <a:ext cx="2328863" cy="353045"/>
          </a:xfrm>
        </p:spPr>
        <p:txBody>
          <a:bodyPr/>
          <a:lstStyle/>
          <a:p>
            <a:pPr lvl="0"/>
            <a:r>
              <a:rPr lang="en-US"/>
              <a:t>Click to</a:t>
            </a:r>
          </a:p>
        </p:txBody>
      </p:sp>
      <p:sp>
        <p:nvSpPr>
          <p:cNvPr id="31" name="Freeform 2">
            <a:extLst>
              <a:ext uri="{FF2B5EF4-FFF2-40B4-BE49-F238E27FC236}">
                <a16:creationId xmlns:a16="http://schemas.microsoft.com/office/drawing/2014/main" id="{61E8ABD1-9FFB-4C9B-9CFA-140163DD9329}"/>
              </a:ext>
              <a:ext uri="{C183D7F6-B498-43B3-948B-1728B52AA6E4}">
                <adec:decorative xmlns:adec="http://schemas.microsoft.com/office/drawing/2017/decorative" val="1"/>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33" name="Freeform 2">
            <a:extLst>
              <a:ext uri="{FF2B5EF4-FFF2-40B4-BE49-F238E27FC236}">
                <a16:creationId xmlns:a16="http://schemas.microsoft.com/office/drawing/2014/main" id="{174FF214-1038-4909-90BD-D3F705DDBACC}"/>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5" name="Freeform 2">
            <a:extLst>
              <a:ext uri="{FF2B5EF4-FFF2-40B4-BE49-F238E27FC236}">
                <a16:creationId xmlns:a16="http://schemas.microsoft.com/office/drawing/2014/main" id="{B0EBE323-8145-4B34-95DB-2C01C67D8076}"/>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graphicFrame>
        <p:nvGraphicFramePr>
          <p:cNvPr id="43" name="Table 37">
            <a:extLst>
              <a:ext uri="{FF2B5EF4-FFF2-40B4-BE49-F238E27FC236}">
                <a16:creationId xmlns:a16="http://schemas.microsoft.com/office/drawing/2014/main" id="{F2315E6E-26BB-4C84-B9A0-D53DEFBE839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69142769"/>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graphicFrame>
        <p:nvGraphicFramePr>
          <p:cNvPr id="45" name="Table 37">
            <a:extLst>
              <a:ext uri="{FF2B5EF4-FFF2-40B4-BE49-F238E27FC236}">
                <a16:creationId xmlns:a16="http://schemas.microsoft.com/office/drawing/2014/main" id="{022637E1-B3C4-4B82-94C0-FEB15160B94D}"/>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679799103"/>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7" name="Table 37">
            <a:extLst>
              <a:ext uri="{FF2B5EF4-FFF2-40B4-BE49-F238E27FC236}">
                <a16:creationId xmlns:a16="http://schemas.microsoft.com/office/drawing/2014/main" id="{05A8EBD3-810B-4627-A059-FA864267A25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873789624"/>
              </p:ext>
            </p:extLst>
          </p:nvPr>
        </p:nvGraphicFramePr>
        <p:xfrm>
          <a:off x="2347982" y="6237790"/>
          <a:ext cx="8284464" cy="217644"/>
        </p:xfrm>
        <a:graphic>
          <a:graphicData uri="http://schemas.openxmlformats.org/drawingml/2006/table">
            <a:tbl>
              <a:tblPr>
                <a:tableStyleId>{5C22544A-7EE6-4342-B048-85BDC9FD1C3A}</a:tableStyleId>
              </a:tblPr>
              <a:tblGrid>
                <a:gridCol w="8284464">
                  <a:extLst>
                    <a:ext uri="{9D8B030D-6E8A-4147-A177-3AD203B41FA5}">
                      <a16:colId xmlns:a16="http://schemas.microsoft.com/office/drawing/2014/main" val="901285367"/>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1" kern="0">
                        <a:solidFill>
                          <a:schemeClr val="bg1"/>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9" name="Table 37">
            <a:extLst>
              <a:ext uri="{FF2B5EF4-FFF2-40B4-BE49-F238E27FC236}">
                <a16:creationId xmlns:a16="http://schemas.microsoft.com/office/drawing/2014/main" id="{06F30CC3-5BC8-42FA-BF4F-59FE27B4113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818163974"/>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cxnSp>
        <p:nvCxnSpPr>
          <p:cNvPr id="51" name="Straight Connector 50">
            <a:extLst>
              <a:ext uri="{FF2B5EF4-FFF2-40B4-BE49-F238E27FC236}">
                <a16:creationId xmlns:a16="http://schemas.microsoft.com/office/drawing/2014/main" id="{5DFC9289-88C3-4DD4-9049-0F80DE9C0386}"/>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CD35276-5812-4268-A60D-4FE61403CDC7}"/>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Left Brace 40">
            <a:extLst>
              <a:ext uri="{FF2B5EF4-FFF2-40B4-BE49-F238E27FC236}">
                <a16:creationId xmlns:a16="http://schemas.microsoft.com/office/drawing/2014/main" id="{A5C4F54D-C06E-4579-ADFB-9721BA7ACB80}"/>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Left Brace 54">
            <a:extLst>
              <a:ext uri="{FF2B5EF4-FFF2-40B4-BE49-F238E27FC236}">
                <a16:creationId xmlns:a16="http://schemas.microsoft.com/office/drawing/2014/main" id="{624ECD89-CC0C-48AE-B747-13097402F7AC}"/>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23949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BB2C49FE-0384-4EE5-ABE1-96F3505567FA}"/>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9000" contrast="44000"/>
                    </a14:imgEffect>
                  </a14:imgLayer>
                </a14:imgProps>
              </a:ext>
              <a:ext uri="{28A0092B-C50C-407E-A947-70E740481C1C}">
                <a14:useLocalDpi xmlns:a14="http://schemas.microsoft.com/office/drawing/2010/main" val="0"/>
              </a:ext>
            </a:extLst>
          </a:blip>
          <a:srcRect b="8386"/>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15ECE2D4-C8FC-4E82-A4F5-E08B48B1F955}"/>
              </a:ext>
              <a:ext uri="{C183D7F6-B498-43B3-948B-1728B52AA6E4}">
                <adec:decorative xmlns:adec="http://schemas.microsoft.com/office/drawing/2017/decorative" val="1"/>
              </a:ext>
            </a:extLst>
          </p:cNvPr>
          <p:cNvSpPr/>
          <p:nvPr userDrawn="1"/>
        </p:nvSpPr>
        <p:spPr bwMode="auto">
          <a:xfrm>
            <a:off x="-1" y="0"/>
            <a:ext cx="12191999" cy="6858000"/>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9B110-BBA6-4DE4-8F10-0700A7A3F233}"/>
              </a:ext>
            </a:extLst>
          </p:cNvPr>
          <p:cNvSpPr>
            <a:spLocks noGrp="1"/>
          </p:cNvSpPr>
          <p:nvPr>
            <p:ph sz="quarter" idx="10"/>
          </p:nvPr>
        </p:nvSpPr>
        <p:spPr>
          <a:xfrm>
            <a:off x="609600" y="1689100"/>
            <a:ext cx="28575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40D0DDAF-6E95-4E1A-BAE3-C33BC6DD598F}"/>
              </a:ext>
            </a:extLst>
          </p:cNvPr>
          <p:cNvSpPr>
            <a:spLocks noGrp="1"/>
          </p:cNvSpPr>
          <p:nvPr>
            <p:ph sz="quarter" idx="11"/>
          </p:nvPr>
        </p:nvSpPr>
        <p:spPr>
          <a:xfrm>
            <a:off x="609600" y="2476500"/>
            <a:ext cx="2857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C11E152-A539-4948-8422-EA4FCFC25638}"/>
              </a:ext>
            </a:extLst>
          </p:cNvPr>
          <p:cNvSpPr>
            <a:spLocks noGrp="1"/>
          </p:cNvSpPr>
          <p:nvPr>
            <p:ph sz="quarter" idx="12"/>
          </p:nvPr>
        </p:nvSpPr>
        <p:spPr>
          <a:xfrm>
            <a:off x="609600" y="3429000"/>
            <a:ext cx="3035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E4FACA6F-6607-4BF2-AB6A-91F47416C816}"/>
              </a:ext>
            </a:extLst>
          </p:cNvPr>
          <p:cNvSpPr>
            <a:spLocks noGrp="1"/>
          </p:cNvSpPr>
          <p:nvPr>
            <p:ph sz="quarter" idx="13"/>
          </p:nvPr>
        </p:nvSpPr>
        <p:spPr>
          <a:xfrm>
            <a:off x="609600" y="4203700"/>
            <a:ext cx="28575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E7862C2-2EED-47EA-B8CC-8D0402F7D0A7}"/>
              </a:ext>
            </a:extLst>
          </p:cNvPr>
          <p:cNvSpPr>
            <a:spLocks noGrp="1"/>
          </p:cNvSpPr>
          <p:nvPr>
            <p:ph sz="quarter" idx="14"/>
          </p:nvPr>
        </p:nvSpPr>
        <p:spPr>
          <a:xfrm>
            <a:off x="5981700" y="1689100"/>
            <a:ext cx="2743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4A5400DB-26C5-4D38-B25E-2AB2E860732C}"/>
              </a:ext>
            </a:extLst>
          </p:cNvPr>
          <p:cNvSpPr>
            <a:spLocks noGrp="1"/>
          </p:cNvSpPr>
          <p:nvPr>
            <p:ph sz="quarter" idx="15"/>
          </p:nvPr>
        </p:nvSpPr>
        <p:spPr>
          <a:xfrm>
            <a:off x="5981700" y="2476500"/>
            <a:ext cx="2857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CFBDC3A-2EE1-4BF4-B20E-2051CE3BB9C8}"/>
              </a:ext>
            </a:extLst>
          </p:cNvPr>
          <p:cNvSpPr>
            <a:spLocks noGrp="1"/>
          </p:cNvSpPr>
          <p:nvPr>
            <p:ph sz="quarter" idx="16"/>
          </p:nvPr>
        </p:nvSpPr>
        <p:spPr>
          <a:xfrm>
            <a:off x="5867400" y="3200400"/>
            <a:ext cx="27432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82E5C78A-4D2D-4667-B988-8CD2EDBDA858}"/>
              </a:ext>
            </a:extLst>
          </p:cNvPr>
          <p:cNvSpPr>
            <a:spLocks noGrp="1"/>
          </p:cNvSpPr>
          <p:nvPr>
            <p:ph sz="quarter" idx="17"/>
          </p:nvPr>
        </p:nvSpPr>
        <p:spPr>
          <a:xfrm>
            <a:off x="5651500" y="3962400"/>
            <a:ext cx="2959100" cy="353045"/>
          </a:xfrm>
        </p:spPr>
        <p:txBody>
          <a:bodyPr/>
          <a:lstStyle/>
          <a:p>
            <a:pPr lvl="0"/>
            <a:r>
              <a:rPr lang="en-US"/>
              <a:t>Click to edit</a:t>
            </a:r>
          </a:p>
        </p:txBody>
      </p:sp>
      <p:sp>
        <p:nvSpPr>
          <p:cNvPr id="19" name="Slide Number Placeholder 1">
            <a:extLst>
              <a:ext uri="{FF2B5EF4-FFF2-40B4-BE49-F238E27FC236}">
                <a16:creationId xmlns:a16="http://schemas.microsoft.com/office/drawing/2014/main" id="{29D2266E-728D-4E1D-9262-353A1FA2FDEC}"/>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49" name="protection against unplanned costs">
            <a:extLst>
              <a:ext uri="{FF2B5EF4-FFF2-40B4-BE49-F238E27FC236}">
                <a16:creationId xmlns:a16="http://schemas.microsoft.com/office/drawing/2014/main" id="{89A1694D-A108-4FB7-9B7F-CC51EBED7D2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50" name="AutoShape 69">
              <a:extLst>
                <a:ext uri="{FF2B5EF4-FFF2-40B4-BE49-F238E27FC236}">
                  <a16:creationId xmlns:a16="http://schemas.microsoft.com/office/drawing/2014/main" id="{37BC0BFD-FC56-4C06-BD38-DCF2E909CC09}"/>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71">
              <a:extLst>
                <a:ext uri="{FF2B5EF4-FFF2-40B4-BE49-F238E27FC236}">
                  <a16:creationId xmlns:a16="http://schemas.microsoft.com/office/drawing/2014/main" id="{91F157C3-E894-44DD-A56D-80062B866DC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72">
              <a:extLst>
                <a:ext uri="{FF2B5EF4-FFF2-40B4-BE49-F238E27FC236}">
                  <a16:creationId xmlns:a16="http://schemas.microsoft.com/office/drawing/2014/main" id="{035374D6-BEA2-4D74-8ACE-77FB942F834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73">
              <a:extLst>
                <a:ext uri="{FF2B5EF4-FFF2-40B4-BE49-F238E27FC236}">
                  <a16:creationId xmlns:a16="http://schemas.microsoft.com/office/drawing/2014/main" id="{44F0EC04-49C5-4436-A6BC-88CEACFC44C8}"/>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74">
              <a:extLst>
                <a:ext uri="{FF2B5EF4-FFF2-40B4-BE49-F238E27FC236}">
                  <a16:creationId xmlns:a16="http://schemas.microsoft.com/office/drawing/2014/main" id="{9D222BEE-F76F-4D8E-9F0F-D18C41221234}"/>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75">
              <a:extLst>
                <a:ext uri="{FF2B5EF4-FFF2-40B4-BE49-F238E27FC236}">
                  <a16:creationId xmlns:a16="http://schemas.microsoft.com/office/drawing/2014/main" id="{2EC42A48-6957-44EC-A638-00BF3EF39D1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555005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7B332A-3E51-49E9-8636-E282275BEB1D}"/>
              </a:ext>
            </a:extLst>
          </p:cNvPr>
          <p:cNvSpPr>
            <a:spLocks noGrp="1"/>
          </p:cNvSpPr>
          <p:nvPr>
            <p:ph sz="quarter" idx="10"/>
          </p:nvPr>
        </p:nvSpPr>
        <p:spPr>
          <a:xfrm>
            <a:off x="800100" y="1333500"/>
            <a:ext cx="2844800" cy="706091"/>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907EAAE1-BA89-4FA4-A40E-B500729EF464}"/>
              </a:ext>
            </a:extLst>
          </p:cNvPr>
          <p:cNvSpPr>
            <a:spLocks noGrp="1"/>
          </p:cNvSpPr>
          <p:nvPr>
            <p:ph sz="quarter" idx="11"/>
          </p:nvPr>
        </p:nvSpPr>
        <p:spPr>
          <a:xfrm>
            <a:off x="1104900" y="2667000"/>
            <a:ext cx="2717800" cy="706091"/>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A27925E4-482D-494E-BE7E-D6C8096BD500}"/>
              </a:ext>
            </a:extLst>
          </p:cNvPr>
          <p:cNvSpPr>
            <a:spLocks noGrp="1"/>
          </p:cNvSpPr>
          <p:nvPr>
            <p:ph sz="quarter" idx="12"/>
          </p:nvPr>
        </p:nvSpPr>
        <p:spPr>
          <a:xfrm>
            <a:off x="1104900" y="3784600"/>
            <a:ext cx="2425700" cy="353045"/>
          </a:xfrm>
        </p:spPr>
        <p:txBody>
          <a:bodyPr/>
          <a:lstStyle/>
          <a:p>
            <a:pPr lvl="0"/>
            <a:r>
              <a:rPr lang="en-US"/>
              <a:t>Click to</a:t>
            </a:r>
          </a:p>
        </p:txBody>
      </p:sp>
    </p:spTree>
    <p:extLst>
      <p:ext uri="{BB962C8B-B14F-4D97-AF65-F5344CB8AC3E}">
        <p14:creationId xmlns:p14="http://schemas.microsoft.com/office/powerpoint/2010/main" val="3168793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B512C-B3E4-41FD-B1F9-83930F8F728D}"/>
              </a:ext>
            </a:extLst>
          </p:cNvPr>
          <p:cNvSpPr>
            <a:spLocks noGrp="1"/>
          </p:cNvSpPr>
          <p:nvPr>
            <p:ph type="title"/>
          </p:nvPr>
        </p:nvSpPr>
        <p:spPr/>
        <p:txBody>
          <a:bodyPr/>
          <a:lstStyle/>
          <a:p>
            <a:r>
              <a:rPr lang="en-US"/>
              <a:t>Click to edit Master title style</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F24EEA3C-C193-4191-ACCA-25F481A1AC96}"/>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62"/>
          <a:stretch/>
        </p:blipFill>
        <p:spPr>
          <a:xfrm rot="16200000">
            <a:off x="2711293" y="-2711313"/>
            <a:ext cx="6858000" cy="12280625"/>
          </a:xfrm>
          <a:prstGeom prst="rect">
            <a:avLst/>
          </a:prstGeom>
          <a:noFill/>
        </p:spPr>
      </p:pic>
      <p:sp>
        <p:nvSpPr>
          <p:cNvPr id="8" name="Rectangle 7">
            <a:extLst>
              <a:ext uri="{FF2B5EF4-FFF2-40B4-BE49-F238E27FC236}">
                <a16:creationId xmlns:a16="http://schemas.microsoft.com/office/drawing/2014/main" id="{0FBB1CA8-5F44-4193-9D00-5A8BF5AA728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flip="none" rotWithShape="1">
            <a:gsLst>
              <a:gs pos="54000">
                <a:schemeClr val="tx1">
                  <a:alpha val="68000"/>
                </a:schemeClr>
              </a:gs>
              <a:gs pos="90000">
                <a:schemeClr val="tx1">
                  <a:alpha val="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67A2A58-2B27-436A-95FE-EF82E189AF1B}"/>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1649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68301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D19BB-72BD-48BA-8503-4961F105819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4014906-392C-46C2-A8C3-BD875290121C}"/>
              </a:ext>
            </a:extLst>
          </p:cNvPr>
          <p:cNvSpPr>
            <a:spLocks noGrp="1"/>
          </p:cNvSpPr>
          <p:nvPr>
            <p:ph sz="quarter" idx="10"/>
          </p:nvPr>
        </p:nvSpPr>
        <p:spPr>
          <a:xfrm>
            <a:off x="571500" y="1371600"/>
            <a:ext cx="3048000" cy="353045"/>
          </a:xfrm>
        </p:spPr>
        <p:txBody>
          <a:bodyPr/>
          <a:lstStyle/>
          <a:p>
            <a:pPr lvl="0"/>
            <a:r>
              <a:rPr lang="en-US"/>
              <a:t>Click to edit</a:t>
            </a:r>
          </a:p>
        </p:txBody>
      </p:sp>
      <p:grpSp>
        <p:nvGrpSpPr>
          <p:cNvPr id="5" name="bank">
            <a:extLst>
              <a:ext uri="{FF2B5EF4-FFF2-40B4-BE49-F238E27FC236}">
                <a16:creationId xmlns:a16="http://schemas.microsoft.com/office/drawing/2014/main" id="{DE0D87CC-644E-42A2-BCD5-D8A3400BDDD0}"/>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6" name="Freeform: Shape 5">
              <a:extLst>
                <a:ext uri="{FF2B5EF4-FFF2-40B4-BE49-F238E27FC236}">
                  <a16:creationId xmlns:a16="http://schemas.microsoft.com/office/drawing/2014/main" id="{A3E96DE3-33D2-4FB5-94E9-7BB26E4319A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9BABD2A3-F8C7-4D4A-BB3F-5E20E1859079}"/>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FBC9AAB-4D1B-41CF-BE77-938E354DFB53}"/>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664611B-9506-41CC-A7CB-19F9F5E3F1DF}"/>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9C768449-C54E-43C2-98AC-C157D4F972C8}"/>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5964C9C-B8B8-45BD-BB34-5B5977C63317}"/>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18A5664E-D1F2-4F94-A387-2BAE92970BBB}"/>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9DCA76B-B659-4A5E-A713-2477C3F9068E}"/>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600331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D2ABD-58B6-451D-BA40-64A5705A0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6BFED3A-ACFD-41A0-B3EF-ED4398810D80}"/>
              </a:ext>
            </a:extLst>
          </p:cNvPr>
          <p:cNvSpPr>
            <a:spLocks noGrp="1"/>
          </p:cNvSpPr>
          <p:nvPr>
            <p:ph sz="quarter" idx="10"/>
          </p:nvPr>
        </p:nvSpPr>
        <p:spPr>
          <a:xfrm>
            <a:off x="427038" y="1487488"/>
            <a:ext cx="3484562" cy="353045"/>
          </a:xfrm>
        </p:spPr>
        <p:txBody>
          <a:bodyPr/>
          <a:lstStyle/>
          <a:p>
            <a:pPr lvl="0"/>
            <a:r>
              <a:rPr lang="en-US"/>
              <a:t>Click to edit</a:t>
            </a:r>
          </a:p>
        </p:txBody>
      </p:sp>
      <p:grpSp>
        <p:nvGrpSpPr>
          <p:cNvPr id="5" name="bank">
            <a:extLst>
              <a:ext uri="{FF2B5EF4-FFF2-40B4-BE49-F238E27FC236}">
                <a16:creationId xmlns:a16="http://schemas.microsoft.com/office/drawing/2014/main" id="{92E9A0CE-92C2-4CB5-8041-CCF7B9E2B595}"/>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6" name="Freeform: Shape 5">
              <a:extLst>
                <a:ext uri="{FF2B5EF4-FFF2-40B4-BE49-F238E27FC236}">
                  <a16:creationId xmlns:a16="http://schemas.microsoft.com/office/drawing/2014/main" id="{3B1CD6F4-C0E0-4350-8859-9B420EE53F8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19E37056-C2EE-4573-9B5B-FECDC5132FBA}"/>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46D6595-E137-4C66-8869-BB8AAC310C69}"/>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CC633D2-B708-462A-A04A-DAE9AC0C04DA}"/>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7905C9-87F6-40FE-8F57-7ECF23B70F42}"/>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4BBCABD-0B85-4506-A90C-37F62A922521}"/>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24EC5A53-3714-48B3-86C8-2EE6AA9F692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DC8AA435-8ED1-4D44-9599-90355062DD9C}"/>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1694675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8E294-C131-4133-A765-6F39C15E176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5B72DEC-ADC4-4300-A318-D125CC9F2820}"/>
              </a:ext>
            </a:extLst>
          </p:cNvPr>
          <p:cNvSpPr>
            <a:spLocks noGrp="1"/>
          </p:cNvSpPr>
          <p:nvPr>
            <p:ph sz="quarter" idx="10"/>
          </p:nvPr>
        </p:nvSpPr>
        <p:spPr>
          <a:xfrm>
            <a:off x="639763" y="1431925"/>
            <a:ext cx="253365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1E5BEED0-C272-44D4-935E-D59D451C6BF8}"/>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1CDFE42A-1F63-4442-9DF2-28C8F5D3200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3730F457-5770-4850-AF2D-2420E5F1B5A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018BADE-CAFF-43D5-B4C3-0DC73CB401A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39908BEE-EF78-4F3D-8965-D5AE2269DC4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C9112B91-3DF2-4464-B20C-571F0DDC9482}"/>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50699E9B-43D9-4CA4-972A-91B4A53FC9D2}"/>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5858337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E37E9-697E-40B0-A4D8-1819B2F11A99}" type="datetimeFigureOut">
              <a:rPr lang="en-US" smtClean="0"/>
              <a:t>2/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7017903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76457-D101-41CE-B784-44B9FA6D1DF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633DBF8-4727-4EF5-8800-7DFF32A6C041}"/>
              </a:ext>
            </a:extLst>
          </p:cNvPr>
          <p:cNvSpPr>
            <a:spLocks noGrp="1"/>
          </p:cNvSpPr>
          <p:nvPr>
            <p:ph sz="quarter" idx="10"/>
          </p:nvPr>
        </p:nvSpPr>
        <p:spPr>
          <a:xfrm>
            <a:off x="876300" y="1574800"/>
            <a:ext cx="317500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203EA165-6B7B-4CD6-808A-BBB67D095E9E}"/>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83541647-F5FC-4CAB-B294-29367818D298}"/>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8046AF9F-95E4-4D74-9323-6417512EE30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6357E456-D66D-4CF0-9FC1-225E3882313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71FF9F8A-D1AE-4C0B-AD38-E6CB82B885C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0AF0D15-DAA3-41FE-BA9C-33C7317A539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D16DFC39-7BAB-4D35-8455-9254B2A5061E}"/>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947273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38431-FF96-48AA-95AB-EE08E8CCFB4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2082343-21AF-4455-B191-6F40A399CCAE}"/>
              </a:ext>
            </a:extLst>
          </p:cNvPr>
          <p:cNvSpPr>
            <a:spLocks noGrp="1"/>
          </p:cNvSpPr>
          <p:nvPr>
            <p:ph sz="quarter" idx="10"/>
          </p:nvPr>
        </p:nvSpPr>
        <p:spPr>
          <a:xfrm>
            <a:off x="723900" y="1498600"/>
            <a:ext cx="31750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F08B8217-6D7D-4D5C-B2E5-16DA39B70CB0}"/>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B3A9E1AD-E49D-43E6-8279-076CFAFA3DB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F02ECB8C-4572-48FD-BB25-F1F6448C3A6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D45A4B8-55BE-4B4C-876D-FA7E7E722DB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BBE0704B-47DD-4F57-9A81-ABABD73BD3B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86FABEE3-ACB3-433C-8A98-238DE72023A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7E820EB0-AFE1-422B-97BE-D4908C526F3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9584282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56748-9338-4007-A714-D64254F768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4067966-FF13-466F-9CD9-4FA8B78BEBF8}"/>
              </a:ext>
            </a:extLst>
          </p:cNvPr>
          <p:cNvSpPr>
            <a:spLocks noGrp="1"/>
          </p:cNvSpPr>
          <p:nvPr>
            <p:ph sz="quarter" idx="10"/>
          </p:nvPr>
        </p:nvSpPr>
        <p:spPr>
          <a:xfrm>
            <a:off x="749300" y="1701800"/>
            <a:ext cx="37973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9832F259-3145-49EC-BCED-0B94B205C882}"/>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6" name="Rectangle 37">
              <a:extLst>
                <a:ext uri="{FF2B5EF4-FFF2-40B4-BE49-F238E27FC236}">
                  <a16:creationId xmlns:a16="http://schemas.microsoft.com/office/drawing/2014/main" id="{D032A6BB-CCFC-4949-B33A-C272A1B7E99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565B72A6-F7F4-48BC-BA29-117B1FA4A133}"/>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E280D6D9-CAAB-4AED-A275-B28A62BB4588}"/>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EEE8384E-225E-4633-B1B7-5FF4ECA231B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93F3255-228D-4FF5-8BB5-BB967F13095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9F0C7A82-9B00-4CA6-8DB9-2A451D646FFA}"/>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8320041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7DCB8-3CCA-4D32-BAC9-741CE4E8CC9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4D7196C-760B-4EE6-B058-A31F4BCED4E0}"/>
              </a:ext>
            </a:extLst>
          </p:cNvPr>
          <p:cNvSpPr>
            <a:spLocks noGrp="1"/>
          </p:cNvSpPr>
          <p:nvPr>
            <p:ph sz="quarter" idx="10"/>
          </p:nvPr>
        </p:nvSpPr>
        <p:spPr>
          <a:xfrm>
            <a:off x="639763" y="1431925"/>
            <a:ext cx="3921125"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23ED91A8-0627-4B63-B308-E5536FACB3D0}"/>
              </a:ext>
              <a:ext uri="{C183D7F6-B498-43B3-948B-1728B52AA6E4}">
                <adec:decorative xmlns:adec="http://schemas.microsoft.com/office/drawing/2017/decorative" val="1"/>
              </a:ext>
            </a:extLst>
          </p:cNvPr>
          <p:cNvGrpSpPr>
            <a:grpSpLocks noChangeAspect="1"/>
          </p:cNvGrpSpPr>
          <p:nvPr userDrawn="1"/>
        </p:nvGrpSpPr>
        <p:grpSpPr bwMode="auto">
          <a:xfrm>
            <a:off x="11412539" y="197511"/>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C8A4570-B5BF-4B0A-858B-7D2F7F4C2B1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25338194-8925-46BB-9D77-A1AC46CFADF3}"/>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9CF34A54-9A2A-4434-AE38-FC8D7168825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2C4F0D72-B663-4D89-962D-ED35B08B34F9}"/>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6FE5E15E-2AE7-47DA-9427-A37898911CB7}"/>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16DA7740-E06B-4B2C-9B6D-8DB1E697E614}"/>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9114316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72713-D898-4FE6-9902-936BB57276B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0E03C65-105A-4D2A-9244-567AE7192F5E}"/>
              </a:ext>
            </a:extLst>
          </p:cNvPr>
          <p:cNvSpPr>
            <a:spLocks noGrp="1"/>
          </p:cNvSpPr>
          <p:nvPr>
            <p:ph sz="quarter" idx="10"/>
          </p:nvPr>
        </p:nvSpPr>
        <p:spPr>
          <a:xfrm>
            <a:off x="596900" y="1346200"/>
            <a:ext cx="27432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26CE29D9-6D0E-42C0-A3AA-6E171264108F}"/>
              </a:ext>
            </a:extLst>
          </p:cNvPr>
          <p:cNvSpPr>
            <a:spLocks noGrp="1"/>
          </p:cNvSpPr>
          <p:nvPr>
            <p:ph sz="quarter" idx="11"/>
          </p:nvPr>
        </p:nvSpPr>
        <p:spPr>
          <a:xfrm>
            <a:off x="596900" y="2070100"/>
            <a:ext cx="27432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BA1D6D7-3E3B-4961-ABE9-FEE3204504BF}"/>
              </a:ext>
            </a:extLst>
          </p:cNvPr>
          <p:cNvSpPr>
            <a:spLocks noGrp="1"/>
          </p:cNvSpPr>
          <p:nvPr>
            <p:ph sz="quarter" idx="12"/>
          </p:nvPr>
        </p:nvSpPr>
        <p:spPr>
          <a:xfrm>
            <a:off x="596900" y="2921000"/>
            <a:ext cx="2603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BC6444-51C8-4E20-B7C7-83A460EE6662}"/>
              </a:ext>
            </a:extLst>
          </p:cNvPr>
          <p:cNvSpPr>
            <a:spLocks noGrp="1"/>
          </p:cNvSpPr>
          <p:nvPr>
            <p:ph sz="quarter" idx="13"/>
          </p:nvPr>
        </p:nvSpPr>
        <p:spPr>
          <a:xfrm>
            <a:off x="698500" y="3606800"/>
            <a:ext cx="27432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F1184712-A1FF-46EF-9BB8-601F3E1C6F2A}"/>
              </a:ext>
            </a:extLst>
          </p:cNvPr>
          <p:cNvSpPr>
            <a:spLocks noGrp="1"/>
          </p:cNvSpPr>
          <p:nvPr>
            <p:ph sz="quarter" idx="14"/>
          </p:nvPr>
        </p:nvSpPr>
        <p:spPr>
          <a:xfrm>
            <a:off x="4330700" y="1346200"/>
            <a:ext cx="2743200" cy="353045"/>
          </a:xfrm>
        </p:spPr>
        <p:txBody>
          <a:bodyPr/>
          <a:lstStyle/>
          <a:p>
            <a:pPr lvl="0"/>
            <a:r>
              <a:rPr lang="en-US"/>
              <a:t>Click to edit</a:t>
            </a:r>
          </a:p>
        </p:txBody>
      </p:sp>
    </p:spTree>
    <p:extLst>
      <p:ext uri="{BB962C8B-B14F-4D97-AF65-F5344CB8AC3E}">
        <p14:creationId xmlns:p14="http://schemas.microsoft.com/office/powerpoint/2010/main" val="237241525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F632DAA-4946-45DE-9E57-C7DB0C6DE60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5650523"/>
          </a:xfrm>
          <a:prstGeom prst="rect">
            <a:avLst/>
          </a:prstGeom>
        </p:spPr>
      </p:pic>
      <p:sp>
        <p:nvSpPr>
          <p:cNvPr id="2" name="Title 1">
            <a:extLst>
              <a:ext uri="{FF2B5EF4-FFF2-40B4-BE49-F238E27FC236}">
                <a16:creationId xmlns:a16="http://schemas.microsoft.com/office/drawing/2014/main" id="{C921C344-AF3B-4810-8D3C-25792136610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89296D4-3865-47B4-8FFA-2E523A319139}"/>
              </a:ext>
            </a:extLst>
          </p:cNvPr>
          <p:cNvSpPr>
            <a:spLocks noGrp="1"/>
          </p:cNvSpPr>
          <p:nvPr>
            <p:ph sz="quarter" idx="10"/>
          </p:nvPr>
        </p:nvSpPr>
        <p:spPr>
          <a:xfrm>
            <a:off x="427038" y="1384300"/>
            <a:ext cx="2278062" cy="353045"/>
          </a:xfrm>
        </p:spPr>
        <p:txBody>
          <a:bodyPr/>
          <a:lstStyle/>
          <a:p>
            <a:pPr lvl="0"/>
            <a:r>
              <a:rPr lang="en-US"/>
              <a:t>Click to</a:t>
            </a:r>
          </a:p>
        </p:txBody>
      </p:sp>
      <p:sp>
        <p:nvSpPr>
          <p:cNvPr id="6" name="Content Placeholder 5">
            <a:extLst>
              <a:ext uri="{FF2B5EF4-FFF2-40B4-BE49-F238E27FC236}">
                <a16:creationId xmlns:a16="http://schemas.microsoft.com/office/drawing/2014/main" id="{61E402CB-C018-4E94-9D68-AB7118354E78}"/>
              </a:ext>
            </a:extLst>
          </p:cNvPr>
          <p:cNvSpPr>
            <a:spLocks noGrp="1"/>
          </p:cNvSpPr>
          <p:nvPr>
            <p:ph sz="quarter" idx="11"/>
          </p:nvPr>
        </p:nvSpPr>
        <p:spPr>
          <a:xfrm>
            <a:off x="427038" y="1993900"/>
            <a:ext cx="2278062" cy="353045"/>
          </a:xfrm>
        </p:spPr>
        <p:txBody>
          <a:bodyPr/>
          <a:lstStyle/>
          <a:p>
            <a:pPr lvl="0"/>
            <a:r>
              <a:rPr lang="en-US"/>
              <a:t>Click to</a:t>
            </a:r>
          </a:p>
        </p:txBody>
      </p:sp>
      <p:sp>
        <p:nvSpPr>
          <p:cNvPr id="8" name="Content Placeholder 7">
            <a:extLst>
              <a:ext uri="{FF2B5EF4-FFF2-40B4-BE49-F238E27FC236}">
                <a16:creationId xmlns:a16="http://schemas.microsoft.com/office/drawing/2014/main" id="{24B3DCE3-AA03-468B-8DC9-437C13D6413C}"/>
              </a:ext>
            </a:extLst>
          </p:cNvPr>
          <p:cNvSpPr>
            <a:spLocks noGrp="1"/>
          </p:cNvSpPr>
          <p:nvPr>
            <p:ph sz="quarter" idx="12"/>
          </p:nvPr>
        </p:nvSpPr>
        <p:spPr>
          <a:xfrm>
            <a:off x="427038" y="2628900"/>
            <a:ext cx="2278062" cy="353045"/>
          </a:xfrm>
        </p:spPr>
        <p:txBody>
          <a:bodyPr/>
          <a:lstStyle/>
          <a:p>
            <a:pPr lvl="0"/>
            <a:r>
              <a:rPr lang="en-US"/>
              <a:t>Click to</a:t>
            </a:r>
          </a:p>
        </p:txBody>
      </p:sp>
      <p:sp>
        <p:nvSpPr>
          <p:cNvPr id="10" name="Content Placeholder 9">
            <a:extLst>
              <a:ext uri="{FF2B5EF4-FFF2-40B4-BE49-F238E27FC236}">
                <a16:creationId xmlns:a16="http://schemas.microsoft.com/office/drawing/2014/main" id="{757F1979-303F-46AB-87E2-2CAD756190A2}"/>
              </a:ext>
            </a:extLst>
          </p:cNvPr>
          <p:cNvSpPr>
            <a:spLocks noGrp="1"/>
          </p:cNvSpPr>
          <p:nvPr>
            <p:ph sz="quarter" idx="13"/>
          </p:nvPr>
        </p:nvSpPr>
        <p:spPr>
          <a:xfrm>
            <a:off x="427038" y="3149600"/>
            <a:ext cx="2278062" cy="353045"/>
          </a:xfrm>
        </p:spPr>
        <p:txBody>
          <a:bodyPr/>
          <a:lstStyle/>
          <a:p>
            <a:pPr lvl="0"/>
            <a:r>
              <a:rPr lang="en-US"/>
              <a:t>Click to</a:t>
            </a:r>
          </a:p>
        </p:txBody>
      </p:sp>
      <p:sp>
        <p:nvSpPr>
          <p:cNvPr id="12" name="Content Placeholder 11">
            <a:extLst>
              <a:ext uri="{FF2B5EF4-FFF2-40B4-BE49-F238E27FC236}">
                <a16:creationId xmlns:a16="http://schemas.microsoft.com/office/drawing/2014/main" id="{3D5B753E-88FA-4402-A068-3278340494B6}"/>
              </a:ext>
            </a:extLst>
          </p:cNvPr>
          <p:cNvSpPr>
            <a:spLocks noGrp="1"/>
          </p:cNvSpPr>
          <p:nvPr>
            <p:ph sz="quarter" idx="14"/>
          </p:nvPr>
        </p:nvSpPr>
        <p:spPr>
          <a:xfrm>
            <a:off x="427038" y="3810000"/>
            <a:ext cx="227806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E29BD773-66F9-4908-93F6-83AA8573F806}"/>
              </a:ext>
            </a:extLst>
          </p:cNvPr>
          <p:cNvSpPr>
            <a:spLocks noGrp="1"/>
          </p:cNvSpPr>
          <p:nvPr>
            <p:ph sz="quarter" idx="15"/>
          </p:nvPr>
        </p:nvSpPr>
        <p:spPr>
          <a:xfrm>
            <a:off x="635000" y="4572000"/>
            <a:ext cx="2476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2A71916A-3189-4C16-9E4A-FFA0F6E46451}"/>
              </a:ext>
            </a:extLst>
          </p:cNvPr>
          <p:cNvSpPr>
            <a:spLocks noGrp="1"/>
          </p:cNvSpPr>
          <p:nvPr>
            <p:ph sz="quarter" idx="16"/>
          </p:nvPr>
        </p:nvSpPr>
        <p:spPr>
          <a:xfrm>
            <a:off x="3454400" y="1384300"/>
            <a:ext cx="2278063"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77F13F8-EF5C-4958-8DC0-276CCA422D5C}"/>
              </a:ext>
            </a:extLst>
          </p:cNvPr>
          <p:cNvSpPr>
            <a:spLocks noGrp="1"/>
          </p:cNvSpPr>
          <p:nvPr>
            <p:ph sz="quarter" idx="17"/>
          </p:nvPr>
        </p:nvSpPr>
        <p:spPr>
          <a:xfrm>
            <a:off x="3365500" y="1993900"/>
            <a:ext cx="2278063" cy="353045"/>
          </a:xfrm>
        </p:spPr>
        <p:txBody>
          <a:bodyPr/>
          <a:lstStyle/>
          <a:p>
            <a:pPr lvl="0"/>
            <a:r>
              <a:rPr lang="en-US"/>
              <a:t>Click to edit</a:t>
            </a:r>
          </a:p>
        </p:txBody>
      </p:sp>
      <p:sp>
        <p:nvSpPr>
          <p:cNvPr id="20" name="Content Placeholder 19">
            <a:extLst>
              <a:ext uri="{FF2B5EF4-FFF2-40B4-BE49-F238E27FC236}">
                <a16:creationId xmlns:a16="http://schemas.microsoft.com/office/drawing/2014/main" id="{F6A24808-E4DB-4E0B-A91B-4F5C4B526912}"/>
              </a:ext>
            </a:extLst>
          </p:cNvPr>
          <p:cNvSpPr>
            <a:spLocks noGrp="1"/>
          </p:cNvSpPr>
          <p:nvPr>
            <p:ph sz="quarter" idx="18"/>
          </p:nvPr>
        </p:nvSpPr>
        <p:spPr>
          <a:xfrm>
            <a:off x="3365500" y="2628900"/>
            <a:ext cx="2366963"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A8FA1626-E840-4628-9C67-57C8DB7622C5}"/>
              </a:ext>
            </a:extLst>
          </p:cNvPr>
          <p:cNvSpPr>
            <a:spLocks noGrp="1"/>
          </p:cNvSpPr>
          <p:nvPr>
            <p:ph sz="quarter" idx="19"/>
          </p:nvPr>
        </p:nvSpPr>
        <p:spPr>
          <a:xfrm>
            <a:off x="3454400" y="3149600"/>
            <a:ext cx="2189163"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BA7426F5-5F59-4521-B073-DE7B3B88CE5D}"/>
              </a:ext>
            </a:extLst>
          </p:cNvPr>
          <p:cNvSpPr>
            <a:spLocks noGrp="1"/>
          </p:cNvSpPr>
          <p:nvPr>
            <p:ph sz="quarter" idx="20"/>
          </p:nvPr>
        </p:nvSpPr>
        <p:spPr>
          <a:xfrm>
            <a:off x="3721100" y="3810000"/>
            <a:ext cx="2278063" cy="352425"/>
          </a:xfrm>
        </p:spPr>
        <p:txBody>
          <a:bodyPr/>
          <a:lstStyle/>
          <a:p>
            <a:pPr lvl="0"/>
            <a:r>
              <a:rPr lang="en-US"/>
              <a:t>Click to edit</a:t>
            </a:r>
          </a:p>
        </p:txBody>
      </p:sp>
      <p:sp>
        <p:nvSpPr>
          <p:cNvPr id="15" name="Rectangle 14">
            <a:extLst>
              <a:ext uri="{FF2B5EF4-FFF2-40B4-BE49-F238E27FC236}">
                <a16:creationId xmlns:a16="http://schemas.microsoft.com/office/drawing/2014/main" id="{ED2A39ED-0929-47AC-8F86-B032F65F89BF}"/>
              </a:ext>
              <a:ext uri="{C183D7F6-B498-43B3-948B-1728B52AA6E4}">
                <adec:decorative xmlns:adec="http://schemas.microsoft.com/office/drawing/2017/decorative" val="1"/>
              </a:ext>
            </a:extLst>
          </p:cNvPr>
          <p:cNvSpPr/>
          <p:nvPr userDrawn="1"/>
        </p:nvSpPr>
        <p:spPr bwMode="auto">
          <a:xfrm>
            <a:off x="0" y="1794076"/>
            <a:ext cx="12192000" cy="5063924"/>
          </a:xfrm>
          <a:prstGeom prst="rect">
            <a:avLst/>
          </a:prstGeom>
          <a:gradFill flip="none" rotWithShape="1">
            <a:gsLst>
              <a:gs pos="56000">
                <a:srgbClr val="000000"/>
              </a:gs>
              <a:gs pos="88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147691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9CA6D8-DF5F-40D7-ABCC-37C2BB07C2D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8" name="Rectangle 7">
            <a:extLst>
              <a:ext uri="{FF2B5EF4-FFF2-40B4-BE49-F238E27FC236}">
                <a16:creationId xmlns:a16="http://schemas.microsoft.com/office/drawing/2014/main" id="{645CA791-42C1-4E22-A581-D803AE8AF31C}"/>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55000"/>
                </a:srgbClr>
              </a:gs>
              <a:gs pos="44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38C105-7451-42E5-B911-DD0E3951E73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F676734-F2F8-4D0D-8A7C-31B3B7A38A77}"/>
              </a:ext>
            </a:extLst>
          </p:cNvPr>
          <p:cNvSpPr>
            <a:spLocks noGrp="1"/>
          </p:cNvSpPr>
          <p:nvPr>
            <p:ph sz="quarter" idx="10"/>
          </p:nvPr>
        </p:nvSpPr>
        <p:spPr>
          <a:xfrm>
            <a:off x="825500" y="2209800"/>
            <a:ext cx="25146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5591E7EF-2895-443E-B594-629132D3C4C7}"/>
              </a:ext>
            </a:extLst>
          </p:cNvPr>
          <p:cNvSpPr>
            <a:spLocks noGrp="1"/>
          </p:cNvSpPr>
          <p:nvPr>
            <p:ph sz="quarter" idx="11"/>
          </p:nvPr>
        </p:nvSpPr>
        <p:spPr>
          <a:xfrm>
            <a:off x="939800" y="2971800"/>
            <a:ext cx="2400300" cy="353045"/>
          </a:xfrm>
        </p:spPr>
        <p:txBody>
          <a:bodyPr/>
          <a:lstStyle/>
          <a:p>
            <a:pPr lvl="0"/>
            <a:r>
              <a:rPr lang="en-US"/>
              <a:t>Click to edit</a:t>
            </a:r>
          </a:p>
        </p:txBody>
      </p:sp>
    </p:spTree>
    <p:extLst>
      <p:ext uri="{BB962C8B-B14F-4D97-AF65-F5344CB8AC3E}">
        <p14:creationId xmlns:p14="http://schemas.microsoft.com/office/powerpoint/2010/main" val="2055196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0A153-4531-4BEC-8E8C-E8F3967948C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27002FA-4AEB-4291-865E-8DB0B0DBD41B}"/>
              </a:ext>
            </a:extLst>
          </p:cNvPr>
          <p:cNvSpPr>
            <a:spLocks noGrp="1"/>
          </p:cNvSpPr>
          <p:nvPr>
            <p:ph sz="quarter" idx="10"/>
          </p:nvPr>
        </p:nvSpPr>
        <p:spPr>
          <a:xfrm>
            <a:off x="825500" y="1828800"/>
            <a:ext cx="2489200" cy="353045"/>
          </a:xfrm>
        </p:spPr>
        <p:txBody>
          <a:bodyPr/>
          <a:lstStyle/>
          <a:p>
            <a:pPr lvl="0"/>
            <a:r>
              <a:rPr lang="en-US"/>
              <a:t>Click to</a:t>
            </a:r>
          </a:p>
        </p:txBody>
      </p:sp>
      <p:sp>
        <p:nvSpPr>
          <p:cNvPr id="5" name="Rectangle 4">
            <a:extLst>
              <a:ext uri="{FF2B5EF4-FFF2-40B4-BE49-F238E27FC236}">
                <a16:creationId xmlns:a16="http://schemas.microsoft.com/office/drawing/2014/main" id="{01749A42-E04C-4C2F-94C5-B41A68DE2181}"/>
              </a:ext>
              <a:ext uri="{C183D7F6-B498-43B3-948B-1728B52AA6E4}">
                <adec:decorative xmlns:adec="http://schemas.microsoft.com/office/drawing/2017/decorative" val="1"/>
              </a:ext>
            </a:extLst>
          </p:cNvPr>
          <p:cNvSpPr/>
          <p:nvPr userDrawn="1"/>
        </p:nvSpPr>
        <p:spPr bwMode="auto">
          <a:xfrm>
            <a:off x="601884" y="1653056"/>
            <a:ext cx="5127067"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90616900-E443-47B7-8831-D5CF382BE083}"/>
              </a:ext>
              <a:ext uri="{C183D7F6-B498-43B3-948B-1728B52AA6E4}">
                <adec:decorative xmlns:adec="http://schemas.microsoft.com/office/drawing/2017/decorative" val="1"/>
              </a:ext>
            </a:extLst>
          </p:cNvPr>
          <p:cNvGrpSpPr/>
          <p:nvPr userDrawn="1"/>
        </p:nvGrpSpPr>
        <p:grpSpPr>
          <a:xfrm>
            <a:off x="11249902" y="335578"/>
            <a:ext cx="576284" cy="575385"/>
            <a:chOff x="717492" y="5761075"/>
            <a:chExt cx="339379" cy="338850"/>
          </a:xfrm>
        </p:grpSpPr>
        <p:sp>
          <p:nvSpPr>
            <p:cNvPr id="7" name="Freeform: Shape 6">
              <a:extLst>
                <a:ext uri="{FF2B5EF4-FFF2-40B4-BE49-F238E27FC236}">
                  <a16:creationId xmlns:a16="http://schemas.microsoft.com/office/drawing/2014/main" id="{B7E88F01-0852-4DBE-A4EE-08D9704C6B6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B87319E-8D48-4839-995F-95055AB3D1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D5AAC9-3414-4A19-8782-32D801E0F345}"/>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B67FD96D-C1C3-4950-941D-8A3694D5BC73}"/>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61E1CAD3-DBB0-40AF-B8A9-ABF70D52F233}"/>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E6A09AFE-F173-4886-AE4A-684B49DB15A6}"/>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EB6FA1D-EE9A-4C72-9DC9-5026726BBF3D}"/>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F36EDC7F-BA70-4359-806E-5E05D635E33B}"/>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8311498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4445EB3-B142-4115-BEEA-8FF27EB95E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CB20526-C4C5-43CE-918A-ABD862C48129}"/>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8A3266A-0C82-4777-8082-0B627FAFBA9C}"/>
              </a:ext>
            </a:extLst>
          </p:cNvPr>
          <p:cNvSpPr>
            <a:spLocks noGrp="1"/>
          </p:cNvSpPr>
          <p:nvPr>
            <p:ph sz="quarter" idx="10"/>
          </p:nvPr>
        </p:nvSpPr>
        <p:spPr>
          <a:xfrm>
            <a:off x="584200" y="1346200"/>
            <a:ext cx="1866900" cy="353045"/>
          </a:xfrm>
        </p:spPr>
        <p:txBody>
          <a:bodyPr/>
          <a:lstStyle/>
          <a:p>
            <a:pPr lvl="0"/>
            <a:r>
              <a:rPr lang="en-US"/>
              <a:t>Click to</a:t>
            </a:r>
          </a:p>
        </p:txBody>
      </p:sp>
      <p:sp>
        <p:nvSpPr>
          <p:cNvPr id="6" name="Content Placeholder 5">
            <a:extLst>
              <a:ext uri="{FF2B5EF4-FFF2-40B4-BE49-F238E27FC236}">
                <a16:creationId xmlns:a16="http://schemas.microsoft.com/office/drawing/2014/main" id="{A42C70BC-DDED-4616-A0C4-1162FFB3D93D}"/>
              </a:ext>
            </a:extLst>
          </p:cNvPr>
          <p:cNvSpPr>
            <a:spLocks noGrp="1"/>
          </p:cNvSpPr>
          <p:nvPr>
            <p:ph sz="quarter" idx="11"/>
          </p:nvPr>
        </p:nvSpPr>
        <p:spPr>
          <a:xfrm>
            <a:off x="584200" y="1930400"/>
            <a:ext cx="1866900" cy="353045"/>
          </a:xfrm>
        </p:spPr>
        <p:txBody>
          <a:bodyPr/>
          <a:lstStyle/>
          <a:p>
            <a:pPr lvl="0"/>
            <a:r>
              <a:rPr lang="en-US"/>
              <a:t>Click to</a:t>
            </a:r>
          </a:p>
        </p:txBody>
      </p:sp>
      <p:sp>
        <p:nvSpPr>
          <p:cNvPr id="8" name="Content Placeholder 7">
            <a:extLst>
              <a:ext uri="{FF2B5EF4-FFF2-40B4-BE49-F238E27FC236}">
                <a16:creationId xmlns:a16="http://schemas.microsoft.com/office/drawing/2014/main" id="{9CF94147-ABEB-42A2-9181-527305269CE4}"/>
              </a:ext>
            </a:extLst>
          </p:cNvPr>
          <p:cNvSpPr>
            <a:spLocks noGrp="1"/>
          </p:cNvSpPr>
          <p:nvPr>
            <p:ph sz="quarter" idx="12"/>
          </p:nvPr>
        </p:nvSpPr>
        <p:spPr>
          <a:xfrm>
            <a:off x="584200" y="2628900"/>
            <a:ext cx="1866900" cy="352425"/>
          </a:xfrm>
        </p:spPr>
        <p:txBody>
          <a:bodyPr/>
          <a:lstStyle/>
          <a:p>
            <a:pPr lvl="0"/>
            <a:r>
              <a:rPr lang="en-US"/>
              <a:t>Click to</a:t>
            </a:r>
          </a:p>
        </p:txBody>
      </p:sp>
      <p:sp>
        <p:nvSpPr>
          <p:cNvPr id="10" name="Content Placeholder 9">
            <a:extLst>
              <a:ext uri="{FF2B5EF4-FFF2-40B4-BE49-F238E27FC236}">
                <a16:creationId xmlns:a16="http://schemas.microsoft.com/office/drawing/2014/main" id="{A7463647-67E7-4385-8CFF-1D6B1DDF90FE}"/>
              </a:ext>
            </a:extLst>
          </p:cNvPr>
          <p:cNvSpPr>
            <a:spLocks noGrp="1"/>
          </p:cNvSpPr>
          <p:nvPr>
            <p:ph sz="quarter" idx="13"/>
          </p:nvPr>
        </p:nvSpPr>
        <p:spPr>
          <a:xfrm>
            <a:off x="584200" y="3429000"/>
            <a:ext cx="17018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56315A83-3762-41C3-B4CC-02913B01E5AD}"/>
              </a:ext>
            </a:extLst>
          </p:cNvPr>
          <p:cNvSpPr>
            <a:spLocks noGrp="1"/>
          </p:cNvSpPr>
          <p:nvPr>
            <p:ph sz="quarter" idx="14"/>
          </p:nvPr>
        </p:nvSpPr>
        <p:spPr>
          <a:xfrm>
            <a:off x="584200" y="4165600"/>
            <a:ext cx="17018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82249BDE-DB32-4428-ACCF-DD650A4F8F5F}"/>
              </a:ext>
            </a:extLst>
          </p:cNvPr>
          <p:cNvSpPr>
            <a:spLocks noGrp="1"/>
          </p:cNvSpPr>
          <p:nvPr>
            <p:ph sz="quarter" idx="15"/>
          </p:nvPr>
        </p:nvSpPr>
        <p:spPr>
          <a:xfrm>
            <a:off x="584200" y="4775200"/>
            <a:ext cx="17018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B173E931-2B9D-4708-9DA8-C313BDB86452}"/>
              </a:ext>
            </a:extLst>
          </p:cNvPr>
          <p:cNvSpPr>
            <a:spLocks noGrp="1"/>
          </p:cNvSpPr>
          <p:nvPr>
            <p:ph sz="quarter" idx="16"/>
          </p:nvPr>
        </p:nvSpPr>
        <p:spPr>
          <a:xfrm>
            <a:off x="3022600" y="1346200"/>
            <a:ext cx="18669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A6327702-0116-4036-8A0D-83527C5518C5}"/>
              </a:ext>
            </a:extLst>
          </p:cNvPr>
          <p:cNvSpPr>
            <a:spLocks noGrp="1"/>
          </p:cNvSpPr>
          <p:nvPr>
            <p:ph sz="quarter" idx="17"/>
          </p:nvPr>
        </p:nvSpPr>
        <p:spPr>
          <a:xfrm>
            <a:off x="3022600" y="2082800"/>
            <a:ext cx="19939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70951C46-5AA9-408E-BA9E-A79EC4E1C54A}"/>
              </a:ext>
            </a:extLst>
          </p:cNvPr>
          <p:cNvSpPr>
            <a:spLocks noGrp="1"/>
          </p:cNvSpPr>
          <p:nvPr>
            <p:ph sz="quarter" idx="18"/>
          </p:nvPr>
        </p:nvSpPr>
        <p:spPr>
          <a:xfrm>
            <a:off x="3022600" y="2628900"/>
            <a:ext cx="20828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BBCDAE2C-E319-433D-BDE4-C504BC9EF124}"/>
              </a:ext>
            </a:extLst>
          </p:cNvPr>
          <p:cNvSpPr>
            <a:spLocks noGrp="1"/>
          </p:cNvSpPr>
          <p:nvPr>
            <p:ph sz="quarter" idx="19"/>
          </p:nvPr>
        </p:nvSpPr>
        <p:spPr>
          <a:xfrm>
            <a:off x="3022600" y="3251200"/>
            <a:ext cx="22225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26307F94-DC7F-4EB6-A08D-3F93AB8F28E6}"/>
              </a:ext>
            </a:extLst>
          </p:cNvPr>
          <p:cNvSpPr>
            <a:spLocks noGrp="1"/>
          </p:cNvSpPr>
          <p:nvPr>
            <p:ph sz="quarter" idx="20"/>
          </p:nvPr>
        </p:nvSpPr>
        <p:spPr>
          <a:xfrm>
            <a:off x="3022600" y="3911600"/>
            <a:ext cx="2374900" cy="352425"/>
          </a:xfrm>
        </p:spPr>
        <p:txBody>
          <a:bodyPr/>
          <a:lstStyle/>
          <a:p>
            <a:pPr lvl="0"/>
            <a:r>
              <a:rPr lang="en-US"/>
              <a:t>Click to</a:t>
            </a:r>
          </a:p>
        </p:txBody>
      </p:sp>
      <p:sp>
        <p:nvSpPr>
          <p:cNvPr id="17" name="Rectangle 16">
            <a:extLst>
              <a:ext uri="{FF2B5EF4-FFF2-40B4-BE49-F238E27FC236}">
                <a16:creationId xmlns:a16="http://schemas.microsoft.com/office/drawing/2014/main" id="{DB605BD3-C7E0-4732-B6CA-753DA0954443}"/>
              </a:ext>
              <a:ext uri="{C183D7F6-B498-43B3-948B-1728B52AA6E4}">
                <adec:decorative xmlns:adec="http://schemas.microsoft.com/office/drawing/2017/decorative" val="1"/>
              </a:ext>
            </a:extLst>
          </p:cNvPr>
          <p:cNvSpPr/>
          <p:nvPr userDrawn="1"/>
        </p:nvSpPr>
        <p:spPr bwMode="auto">
          <a:xfrm>
            <a:off x="0" y="1689904"/>
            <a:ext cx="12191999" cy="5168095"/>
          </a:xfrm>
          <a:prstGeom prst="rect">
            <a:avLst/>
          </a:prstGeom>
          <a:gradFill flip="none" rotWithShape="1">
            <a:gsLst>
              <a:gs pos="52000">
                <a:srgbClr val="000000"/>
              </a:gs>
              <a:gs pos="8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5899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4DBA5A03-E6A3-4CF5-8B11-DCC58F0281DA}"/>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E08D205-A454-4F4E-94B7-6513A4794DB1}"/>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49000"/>
                </a:srgbClr>
              </a:gs>
              <a:gs pos="37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124AB98-9FB6-4E81-A3D4-3CDBF026145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D64953E-2E3A-4E1B-BCCE-71FDEBE53BB7}"/>
              </a:ext>
            </a:extLst>
          </p:cNvPr>
          <p:cNvSpPr>
            <a:spLocks noGrp="1"/>
          </p:cNvSpPr>
          <p:nvPr>
            <p:ph sz="quarter" idx="10"/>
          </p:nvPr>
        </p:nvSpPr>
        <p:spPr>
          <a:xfrm>
            <a:off x="1806575" y="2060575"/>
            <a:ext cx="2424113"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AFBE72E1-1D4F-48AB-9C3C-E7E07C66DBF0}"/>
              </a:ext>
            </a:extLst>
          </p:cNvPr>
          <p:cNvSpPr>
            <a:spLocks noGrp="1"/>
          </p:cNvSpPr>
          <p:nvPr>
            <p:ph sz="quarter" idx="11"/>
          </p:nvPr>
        </p:nvSpPr>
        <p:spPr>
          <a:xfrm>
            <a:off x="1806575" y="3051175"/>
            <a:ext cx="2930525" cy="353045"/>
          </a:xfrm>
        </p:spPr>
        <p:txBody>
          <a:bodyPr/>
          <a:lstStyle/>
          <a:p>
            <a:pPr lvl="0"/>
            <a:r>
              <a:rPr lang="en-US"/>
              <a:t>Click to edit</a:t>
            </a:r>
          </a:p>
        </p:txBody>
      </p:sp>
    </p:spTree>
    <p:extLst>
      <p:ext uri="{BB962C8B-B14F-4D97-AF65-F5344CB8AC3E}">
        <p14:creationId xmlns:p14="http://schemas.microsoft.com/office/powerpoint/2010/main" val="95504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2/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5981572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FAF2EEA-23A0-4C92-999A-ADF02A3B9E63}"/>
              </a:ext>
              <a:ext uri="{C183D7F6-B498-43B3-948B-1728B52AA6E4}">
                <adec:decorative xmlns:adec="http://schemas.microsoft.com/office/drawing/2017/decorative" val="1"/>
              </a:ext>
            </a:extLst>
          </p:cNvPr>
          <p:cNvPicPr>
            <a:picLocks noChangeAspect="1"/>
          </p:cNvPicPr>
          <p:nvPr userDrawn="1"/>
        </p:nvPicPr>
        <p:blipFill rotWithShape="1">
          <a:blip r:embed="rId2">
            <a:alphaModFix amt="63000"/>
            <a:extLst>
              <a:ext uri="{28A0092B-C50C-407E-A947-70E740481C1C}">
                <a14:useLocalDpi xmlns:a14="http://schemas.microsoft.com/office/drawing/2010/main" val="0"/>
              </a:ext>
            </a:extLst>
          </a:blip>
          <a:srcRect/>
          <a:stretch/>
        </p:blipFill>
        <p:spPr>
          <a:xfrm>
            <a:off x="0" y="369190"/>
            <a:ext cx="12192000" cy="6488810"/>
          </a:xfrm>
          <a:prstGeom prst="rect">
            <a:avLst/>
          </a:prstGeom>
        </p:spPr>
      </p:pic>
      <p:sp>
        <p:nvSpPr>
          <p:cNvPr id="15" name="Rectangle 14">
            <a:extLst>
              <a:ext uri="{FF2B5EF4-FFF2-40B4-BE49-F238E27FC236}">
                <a16:creationId xmlns:a16="http://schemas.microsoft.com/office/drawing/2014/main" id="{908CFABC-CBD1-4ED7-8D6B-5AED700BCE59}"/>
              </a:ext>
              <a:ext uri="{C183D7F6-B498-43B3-948B-1728B52AA6E4}">
                <adec:decorative xmlns:adec="http://schemas.microsoft.com/office/drawing/2017/decorative" val="1"/>
              </a:ext>
            </a:extLst>
          </p:cNvPr>
          <p:cNvSpPr/>
          <p:nvPr userDrawn="1"/>
        </p:nvSpPr>
        <p:spPr bwMode="auto">
          <a:xfrm>
            <a:off x="0" y="0"/>
            <a:ext cx="12192000" cy="11223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48897DF-2D00-4661-B41B-90FCA2338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F3F71DD-1597-4B6F-8FF4-323A667644BC}"/>
              </a:ext>
            </a:extLst>
          </p:cNvPr>
          <p:cNvSpPr>
            <a:spLocks noGrp="1"/>
          </p:cNvSpPr>
          <p:nvPr>
            <p:ph sz="quarter" idx="10"/>
          </p:nvPr>
        </p:nvSpPr>
        <p:spPr>
          <a:xfrm>
            <a:off x="427038" y="1384300"/>
            <a:ext cx="2265362" cy="353045"/>
          </a:xfrm>
        </p:spPr>
        <p:txBody>
          <a:bodyPr/>
          <a:lstStyle/>
          <a:p>
            <a:pPr lvl="0"/>
            <a:r>
              <a:rPr lang="en-US"/>
              <a:t>Click to</a:t>
            </a:r>
          </a:p>
        </p:txBody>
      </p:sp>
      <p:sp>
        <p:nvSpPr>
          <p:cNvPr id="6" name="Content Placeholder 5">
            <a:extLst>
              <a:ext uri="{FF2B5EF4-FFF2-40B4-BE49-F238E27FC236}">
                <a16:creationId xmlns:a16="http://schemas.microsoft.com/office/drawing/2014/main" id="{C738CC82-585C-42CB-8CC4-14B9E7CBBBA9}"/>
              </a:ext>
            </a:extLst>
          </p:cNvPr>
          <p:cNvSpPr>
            <a:spLocks noGrp="1"/>
          </p:cNvSpPr>
          <p:nvPr>
            <p:ph sz="quarter" idx="11"/>
          </p:nvPr>
        </p:nvSpPr>
        <p:spPr>
          <a:xfrm>
            <a:off x="427038" y="2006600"/>
            <a:ext cx="2265362" cy="353045"/>
          </a:xfrm>
        </p:spPr>
        <p:txBody>
          <a:bodyPr/>
          <a:lstStyle/>
          <a:p>
            <a:pPr lvl="0"/>
            <a:r>
              <a:rPr lang="en-US"/>
              <a:t>Click to</a:t>
            </a:r>
          </a:p>
        </p:txBody>
      </p:sp>
      <p:sp>
        <p:nvSpPr>
          <p:cNvPr id="8" name="Content Placeholder 7">
            <a:extLst>
              <a:ext uri="{FF2B5EF4-FFF2-40B4-BE49-F238E27FC236}">
                <a16:creationId xmlns:a16="http://schemas.microsoft.com/office/drawing/2014/main" id="{FD1D42A8-4416-4D73-9529-DD7C131B2E7C}"/>
              </a:ext>
            </a:extLst>
          </p:cNvPr>
          <p:cNvSpPr>
            <a:spLocks noGrp="1"/>
          </p:cNvSpPr>
          <p:nvPr>
            <p:ph sz="quarter" idx="12"/>
          </p:nvPr>
        </p:nvSpPr>
        <p:spPr>
          <a:xfrm>
            <a:off x="427038" y="2679700"/>
            <a:ext cx="24050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B5EC5CB8-DBAC-41E9-B48E-6FFDB374764E}"/>
              </a:ext>
            </a:extLst>
          </p:cNvPr>
          <p:cNvSpPr>
            <a:spLocks noGrp="1"/>
          </p:cNvSpPr>
          <p:nvPr>
            <p:ph sz="quarter" idx="13"/>
          </p:nvPr>
        </p:nvSpPr>
        <p:spPr>
          <a:xfrm>
            <a:off x="427038" y="3302000"/>
            <a:ext cx="2405062"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69C0F00A-8988-41BA-BECC-B77985F3CB1A}"/>
              </a:ext>
            </a:extLst>
          </p:cNvPr>
          <p:cNvSpPr>
            <a:spLocks noGrp="1"/>
          </p:cNvSpPr>
          <p:nvPr>
            <p:ph sz="quarter" idx="14"/>
          </p:nvPr>
        </p:nvSpPr>
        <p:spPr>
          <a:xfrm>
            <a:off x="711200" y="3975100"/>
            <a:ext cx="22733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5D34EFE9-D08D-4098-8119-8DEF71444F39}"/>
              </a:ext>
            </a:extLst>
          </p:cNvPr>
          <p:cNvSpPr>
            <a:spLocks noGrp="1"/>
          </p:cNvSpPr>
          <p:nvPr>
            <p:ph sz="quarter" idx="15"/>
          </p:nvPr>
        </p:nvSpPr>
        <p:spPr>
          <a:xfrm>
            <a:off x="711200" y="4610100"/>
            <a:ext cx="18923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71595606-00E3-4737-9A3D-2259EE17E876}"/>
              </a:ext>
            </a:extLst>
          </p:cNvPr>
          <p:cNvSpPr>
            <a:spLocks noGrp="1"/>
          </p:cNvSpPr>
          <p:nvPr>
            <p:ph sz="quarter" idx="16"/>
          </p:nvPr>
        </p:nvSpPr>
        <p:spPr>
          <a:xfrm>
            <a:off x="4622800" y="1384300"/>
            <a:ext cx="19050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5EFB3669-206B-4567-96ED-3DA0DF2614F6}"/>
              </a:ext>
            </a:extLst>
          </p:cNvPr>
          <p:cNvSpPr>
            <a:spLocks noGrp="1"/>
          </p:cNvSpPr>
          <p:nvPr>
            <p:ph sz="quarter" idx="17"/>
          </p:nvPr>
        </p:nvSpPr>
        <p:spPr>
          <a:xfrm>
            <a:off x="4622800" y="2095500"/>
            <a:ext cx="2057400" cy="353045"/>
          </a:xfrm>
        </p:spPr>
        <p:txBody>
          <a:bodyPr/>
          <a:lstStyle/>
          <a:p>
            <a:pPr lvl="0"/>
            <a:r>
              <a:rPr lang="en-US"/>
              <a:t>Click to</a:t>
            </a:r>
          </a:p>
        </p:txBody>
      </p:sp>
      <p:sp>
        <p:nvSpPr>
          <p:cNvPr id="11" name="Slide Number Placeholder 1">
            <a:extLst>
              <a:ext uri="{FF2B5EF4-FFF2-40B4-BE49-F238E27FC236}">
                <a16:creationId xmlns:a16="http://schemas.microsoft.com/office/drawing/2014/main" id="{6B097977-314F-4527-B101-03160D8A0177}"/>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17" name="bank">
            <a:extLst>
              <a:ext uri="{FF2B5EF4-FFF2-40B4-BE49-F238E27FC236}">
                <a16:creationId xmlns:a16="http://schemas.microsoft.com/office/drawing/2014/main" id="{F50F3218-D0FE-4ADE-AD69-04F69E237173}"/>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9" name="Freeform: Shape 18">
              <a:extLst>
                <a:ext uri="{FF2B5EF4-FFF2-40B4-BE49-F238E27FC236}">
                  <a16:creationId xmlns:a16="http://schemas.microsoft.com/office/drawing/2014/main" id="{7705A2C7-4D2D-439D-B456-00BFDB317D71}"/>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B175522-0828-4BB1-9EC7-E9D5F7682C73}"/>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2B3B082-B042-4F67-AC9E-1E1CF143E5B1}"/>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772853E4-BCC7-4226-89DC-BCA5BFF08814}"/>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D102F8EF-D69E-4002-BD7F-E49F1DE09FB0}"/>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1F5F5FF-BD94-47EE-8D27-3395BE096F3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365A0043-B84B-48F4-BF7F-D0270E8191F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25F14352-2586-4556-8603-FDFEF467C3CF}"/>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568628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9291F-2B8D-465C-A79A-09ACA6FF225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E2C4305-8081-4648-AD2F-A440B0BE045E}"/>
              </a:ext>
            </a:extLst>
          </p:cNvPr>
          <p:cNvSpPr>
            <a:spLocks noGrp="1"/>
          </p:cNvSpPr>
          <p:nvPr>
            <p:ph sz="quarter" idx="10"/>
          </p:nvPr>
        </p:nvSpPr>
        <p:spPr>
          <a:xfrm>
            <a:off x="1435100" y="1854200"/>
            <a:ext cx="2501900" cy="353045"/>
          </a:xfrm>
        </p:spPr>
        <p:txBody>
          <a:bodyPr/>
          <a:lstStyle/>
          <a:p>
            <a:pPr lvl="0"/>
            <a:r>
              <a:rPr lang="en-US"/>
              <a:t>Click to</a:t>
            </a:r>
          </a:p>
        </p:txBody>
      </p:sp>
      <p:sp>
        <p:nvSpPr>
          <p:cNvPr id="5" name="Rectangle 4">
            <a:extLst>
              <a:ext uri="{FF2B5EF4-FFF2-40B4-BE49-F238E27FC236}">
                <a16:creationId xmlns:a16="http://schemas.microsoft.com/office/drawing/2014/main" id="{61F203DB-2F9A-4AEA-BA85-9A03B04E3ABA}"/>
              </a:ext>
            </a:extLst>
          </p:cNvPr>
          <p:cNvSpPr/>
          <p:nvPr userDrawn="1"/>
        </p:nvSpPr>
        <p:spPr bwMode="auto">
          <a:xfrm>
            <a:off x="6574116" y="1653056"/>
            <a:ext cx="4490719"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BCE6A8D3-CC42-4ECA-8464-D4BF0E663E46}"/>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1EFE198E-8D46-4407-A824-1B16DE80951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1F5C666-43F3-4DB6-9B01-7175B68AB2B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029CB5E9-206C-47BC-A9F4-93C93CDB72A4}"/>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12BBEF9-2720-4E1D-9750-F117352EB38B}"/>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A0004A81-9966-4AB7-A444-7209F04BC4BD}"/>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6EF6A490-562E-4F4C-BE8B-010D6FC48CBA}"/>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13A47CC-0094-4F13-9048-C9424C59C965}"/>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B25E8A30-1DD8-42A8-8DDC-B9D29846003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1767562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C690F-B070-47B4-9BA2-49B6585C09A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33676C4-EC92-4565-A3C1-78D85E28BE5F}"/>
              </a:ext>
            </a:extLst>
          </p:cNvPr>
          <p:cNvSpPr>
            <a:spLocks noGrp="1"/>
          </p:cNvSpPr>
          <p:nvPr>
            <p:ph sz="quarter" idx="10"/>
          </p:nvPr>
        </p:nvSpPr>
        <p:spPr>
          <a:xfrm>
            <a:off x="427038" y="1487488"/>
            <a:ext cx="30099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BC3D4E38-4503-46F9-AC4C-DBD20BD9FB70}"/>
              </a:ext>
            </a:extLst>
          </p:cNvPr>
          <p:cNvSpPr>
            <a:spLocks noGrp="1"/>
          </p:cNvSpPr>
          <p:nvPr>
            <p:ph sz="quarter" idx="11"/>
          </p:nvPr>
        </p:nvSpPr>
        <p:spPr>
          <a:xfrm>
            <a:off x="561975" y="2247900"/>
            <a:ext cx="2643188" cy="353045"/>
          </a:xfrm>
        </p:spPr>
        <p:txBody>
          <a:bodyPr/>
          <a:lstStyle/>
          <a:p>
            <a:pPr lvl="0"/>
            <a:r>
              <a:rPr lang="en-US"/>
              <a:t>Click to</a:t>
            </a:r>
          </a:p>
        </p:txBody>
      </p:sp>
    </p:spTree>
    <p:extLst>
      <p:ext uri="{BB962C8B-B14F-4D97-AF65-F5344CB8AC3E}">
        <p14:creationId xmlns:p14="http://schemas.microsoft.com/office/powerpoint/2010/main" val="23540014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38BFAF-2D4C-42CA-B927-D8BD438463B2}"/>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EA9AD336-9B65-4E58-B30D-834BCF24551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2" name="Title 1">
            <a:extLst>
              <a:ext uri="{FF2B5EF4-FFF2-40B4-BE49-F238E27FC236}">
                <a16:creationId xmlns:a16="http://schemas.microsoft.com/office/drawing/2014/main" id="{AD3F235E-B32A-44BA-BABF-B27D543B471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2D71857-994D-4D19-A84F-04593D82A045}"/>
              </a:ext>
            </a:extLst>
          </p:cNvPr>
          <p:cNvSpPr>
            <a:spLocks noGrp="1"/>
          </p:cNvSpPr>
          <p:nvPr>
            <p:ph sz="quarter" idx="10"/>
          </p:nvPr>
        </p:nvSpPr>
        <p:spPr>
          <a:xfrm>
            <a:off x="596900" y="1397000"/>
            <a:ext cx="2755900" cy="353045"/>
          </a:xfrm>
        </p:spPr>
        <p:txBody>
          <a:bodyPr/>
          <a:lstStyle/>
          <a:p>
            <a:pPr lvl="0"/>
            <a:r>
              <a:rPr lang="en-US"/>
              <a:t>Click to</a:t>
            </a:r>
          </a:p>
        </p:txBody>
      </p:sp>
      <p:sp>
        <p:nvSpPr>
          <p:cNvPr id="6" name="Content Placeholder 5">
            <a:extLst>
              <a:ext uri="{FF2B5EF4-FFF2-40B4-BE49-F238E27FC236}">
                <a16:creationId xmlns:a16="http://schemas.microsoft.com/office/drawing/2014/main" id="{1B234F61-D5E8-40E8-99FB-1FF000AEC44B}"/>
              </a:ext>
            </a:extLst>
          </p:cNvPr>
          <p:cNvSpPr>
            <a:spLocks noGrp="1"/>
          </p:cNvSpPr>
          <p:nvPr>
            <p:ph sz="quarter" idx="11"/>
          </p:nvPr>
        </p:nvSpPr>
        <p:spPr>
          <a:xfrm>
            <a:off x="596900" y="1854200"/>
            <a:ext cx="2476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BB4AA2CF-E519-443B-AE19-8F53F46868A8}"/>
              </a:ext>
            </a:extLst>
          </p:cNvPr>
          <p:cNvSpPr>
            <a:spLocks noGrp="1"/>
          </p:cNvSpPr>
          <p:nvPr>
            <p:ph sz="quarter" idx="12"/>
          </p:nvPr>
        </p:nvSpPr>
        <p:spPr>
          <a:xfrm>
            <a:off x="596900" y="2349500"/>
            <a:ext cx="2476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6C0EB07A-7D4C-4960-8267-514F73A9165B}"/>
              </a:ext>
            </a:extLst>
          </p:cNvPr>
          <p:cNvSpPr>
            <a:spLocks noGrp="1"/>
          </p:cNvSpPr>
          <p:nvPr>
            <p:ph sz="quarter" idx="13"/>
          </p:nvPr>
        </p:nvSpPr>
        <p:spPr>
          <a:xfrm>
            <a:off x="596900" y="2933700"/>
            <a:ext cx="2578100"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955CC716-300F-4061-B670-77B7BEEF0643}"/>
              </a:ext>
            </a:extLst>
          </p:cNvPr>
          <p:cNvSpPr>
            <a:spLocks noGrp="1"/>
          </p:cNvSpPr>
          <p:nvPr>
            <p:ph sz="quarter" idx="14"/>
          </p:nvPr>
        </p:nvSpPr>
        <p:spPr>
          <a:xfrm>
            <a:off x="596900" y="3429000"/>
            <a:ext cx="24765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8E088A51-4EDE-4E1A-91E6-1059B15FD324}"/>
              </a:ext>
            </a:extLst>
          </p:cNvPr>
          <p:cNvSpPr>
            <a:spLocks noGrp="1"/>
          </p:cNvSpPr>
          <p:nvPr>
            <p:ph sz="quarter" idx="15"/>
          </p:nvPr>
        </p:nvSpPr>
        <p:spPr>
          <a:xfrm>
            <a:off x="596900" y="4076700"/>
            <a:ext cx="2387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3AF54184-92BB-4928-A98F-251160C61F47}"/>
              </a:ext>
            </a:extLst>
          </p:cNvPr>
          <p:cNvSpPr>
            <a:spLocks noGrp="1"/>
          </p:cNvSpPr>
          <p:nvPr>
            <p:ph sz="quarter" idx="16"/>
          </p:nvPr>
        </p:nvSpPr>
        <p:spPr>
          <a:xfrm>
            <a:off x="596900" y="4648200"/>
            <a:ext cx="2070100" cy="352425"/>
          </a:xfrm>
        </p:spPr>
        <p:txBody>
          <a:bodyPr/>
          <a:lstStyle/>
          <a:p>
            <a:pPr lvl="0"/>
            <a:r>
              <a:rPr lang="en-US"/>
              <a:t>Click to edit</a:t>
            </a:r>
          </a:p>
        </p:txBody>
      </p:sp>
      <p:sp>
        <p:nvSpPr>
          <p:cNvPr id="18" name="Content Placeholder 17">
            <a:extLst>
              <a:ext uri="{FF2B5EF4-FFF2-40B4-BE49-F238E27FC236}">
                <a16:creationId xmlns:a16="http://schemas.microsoft.com/office/drawing/2014/main" id="{9FE9753D-8339-4BB5-9B8F-D83291A98487}"/>
              </a:ext>
            </a:extLst>
          </p:cNvPr>
          <p:cNvSpPr>
            <a:spLocks noGrp="1"/>
          </p:cNvSpPr>
          <p:nvPr>
            <p:ph sz="quarter" idx="17"/>
          </p:nvPr>
        </p:nvSpPr>
        <p:spPr>
          <a:xfrm>
            <a:off x="3975100" y="1282700"/>
            <a:ext cx="2120900" cy="352425"/>
          </a:xfrm>
        </p:spPr>
        <p:txBody>
          <a:bodyPr/>
          <a:lstStyle/>
          <a:p>
            <a:pPr lvl="0"/>
            <a:r>
              <a:rPr lang="en-US"/>
              <a:t>Click to edit</a:t>
            </a:r>
          </a:p>
        </p:txBody>
      </p:sp>
      <p:sp>
        <p:nvSpPr>
          <p:cNvPr id="20" name="Content Placeholder 19">
            <a:extLst>
              <a:ext uri="{FF2B5EF4-FFF2-40B4-BE49-F238E27FC236}">
                <a16:creationId xmlns:a16="http://schemas.microsoft.com/office/drawing/2014/main" id="{54127CBB-C5AE-42A5-BE68-F07BF40E4BAC}"/>
              </a:ext>
            </a:extLst>
          </p:cNvPr>
          <p:cNvSpPr>
            <a:spLocks noGrp="1"/>
          </p:cNvSpPr>
          <p:nvPr>
            <p:ph sz="quarter" idx="18"/>
          </p:nvPr>
        </p:nvSpPr>
        <p:spPr>
          <a:xfrm>
            <a:off x="3771900" y="1854200"/>
            <a:ext cx="2324100"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8DC4C291-14F8-4757-A49A-C18FAF2EEED0}"/>
              </a:ext>
            </a:extLst>
          </p:cNvPr>
          <p:cNvSpPr>
            <a:spLocks noGrp="1"/>
          </p:cNvSpPr>
          <p:nvPr>
            <p:ph sz="quarter" idx="19"/>
          </p:nvPr>
        </p:nvSpPr>
        <p:spPr>
          <a:xfrm>
            <a:off x="3771900" y="2527300"/>
            <a:ext cx="2082800"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671F346C-B02B-4629-BF0E-944BADF27503}"/>
              </a:ext>
            </a:extLst>
          </p:cNvPr>
          <p:cNvSpPr>
            <a:spLocks noGrp="1"/>
          </p:cNvSpPr>
          <p:nvPr>
            <p:ph sz="quarter" idx="20"/>
          </p:nvPr>
        </p:nvSpPr>
        <p:spPr>
          <a:xfrm>
            <a:off x="3860800" y="3073400"/>
            <a:ext cx="2235200" cy="353045"/>
          </a:xfrm>
        </p:spPr>
        <p:txBody>
          <a:bodyPr/>
          <a:lstStyle/>
          <a:p>
            <a:pPr lvl="0"/>
            <a:r>
              <a:rPr lang="en-US"/>
              <a:t>Click to edit</a:t>
            </a:r>
          </a:p>
        </p:txBody>
      </p:sp>
      <p:grpSp>
        <p:nvGrpSpPr>
          <p:cNvPr id="19" name="data empowerment">
            <a:extLst>
              <a:ext uri="{FF2B5EF4-FFF2-40B4-BE49-F238E27FC236}">
                <a16:creationId xmlns:a16="http://schemas.microsoft.com/office/drawing/2014/main" id="{FC9F3459-8573-49FF-ADD1-4D9A7E015DDC}"/>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21" name="Rectangle 37">
              <a:extLst>
                <a:ext uri="{FF2B5EF4-FFF2-40B4-BE49-F238E27FC236}">
                  <a16:creationId xmlns:a16="http://schemas.microsoft.com/office/drawing/2014/main" id="{A4B30D73-F1DE-43B6-B577-0500E047F0D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8">
              <a:extLst>
                <a:ext uri="{FF2B5EF4-FFF2-40B4-BE49-F238E27FC236}">
                  <a16:creationId xmlns:a16="http://schemas.microsoft.com/office/drawing/2014/main" id="{4860D60C-9DE2-4280-90A9-CADB1579F899}"/>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39">
              <a:extLst>
                <a:ext uri="{FF2B5EF4-FFF2-40B4-BE49-F238E27FC236}">
                  <a16:creationId xmlns:a16="http://schemas.microsoft.com/office/drawing/2014/main" id="{F9296707-F786-43A7-B003-683A010AAA71}"/>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40">
              <a:extLst>
                <a:ext uri="{FF2B5EF4-FFF2-40B4-BE49-F238E27FC236}">
                  <a16:creationId xmlns:a16="http://schemas.microsoft.com/office/drawing/2014/main" id="{B418EADD-1FB5-4A78-8234-80B85C309A6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41">
              <a:extLst>
                <a:ext uri="{FF2B5EF4-FFF2-40B4-BE49-F238E27FC236}">
                  <a16:creationId xmlns:a16="http://schemas.microsoft.com/office/drawing/2014/main" id="{DD5EFB8F-B531-4311-9C1B-36A1CD8107C3}"/>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Oval 42">
              <a:extLst>
                <a:ext uri="{FF2B5EF4-FFF2-40B4-BE49-F238E27FC236}">
                  <a16:creationId xmlns:a16="http://schemas.microsoft.com/office/drawing/2014/main" id="{631E1689-2CA8-49CC-970B-737A9DF76E79}"/>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524FCE28-56EA-4196-8063-CF6835932FF4}"/>
              </a:ext>
              <a:ext uri="{C183D7F6-B498-43B3-948B-1728B52AA6E4}">
                <adec:decorative xmlns:adec="http://schemas.microsoft.com/office/drawing/2017/decorative" val="1"/>
              </a:ext>
            </a:extLst>
          </p:cNvPr>
          <p:cNvSpPr/>
          <p:nvPr userDrawn="1"/>
        </p:nvSpPr>
        <p:spPr bwMode="auto">
          <a:xfrm>
            <a:off x="-19386" y="1661160"/>
            <a:ext cx="12230774" cy="5186729"/>
          </a:xfrm>
          <a:prstGeom prst="rect">
            <a:avLst/>
          </a:prstGeom>
          <a:gradFill flip="none" rotWithShape="1">
            <a:gsLst>
              <a:gs pos="53000">
                <a:srgbClr val="000000"/>
              </a:gs>
              <a:gs pos="82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603652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E3440A-E78B-49C2-B1D3-45C584BDF798}"/>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A80BAA0C-C50C-45EB-8D0B-55C5A9E872F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8" name="Rectangle 7">
            <a:extLst>
              <a:ext uri="{FF2B5EF4-FFF2-40B4-BE49-F238E27FC236}">
                <a16:creationId xmlns:a16="http://schemas.microsoft.com/office/drawing/2014/main" id="{5ACF9C1B-B710-4EF3-963A-40A6378CB8FC}"/>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E2BD702-86A0-4449-B88A-BD4D7582148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0FFC35D-5D12-4320-B257-130B8234B324}"/>
              </a:ext>
            </a:extLst>
          </p:cNvPr>
          <p:cNvSpPr>
            <a:spLocks noGrp="1"/>
          </p:cNvSpPr>
          <p:nvPr>
            <p:ph sz="quarter" idx="10"/>
          </p:nvPr>
        </p:nvSpPr>
        <p:spPr>
          <a:xfrm>
            <a:off x="554038" y="1500188"/>
            <a:ext cx="2405062" cy="353045"/>
          </a:xfrm>
        </p:spPr>
        <p:txBody>
          <a:bodyPr/>
          <a:lstStyle/>
          <a:p>
            <a:pPr lvl="0"/>
            <a:r>
              <a:rPr lang="en-US"/>
              <a:t>Click to</a:t>
            </a:r>
          </a:p>
        </p:txBody>
      </p:sp>
      <p:sp>
        <p:nvSpPr>
          <p:cNvPr id="6" name="Content Placeholder 5">
            <a:extLst>
              <a:ext uri="{FF2B5EF4-FFF2-40B4-BE49-F238E27FC236}">
                <a16:creationId xmlns:a16="http://schemas.microsoft.com/office/drawing/2014/main" id="{2DAA63EC-4004-4CB8-B07A-AC851689928B}"/>
              </a:ext>
            </a:extLst>
          </p:cNvPr>
          <p:cNvSpPr>
            <a:spLocks noGrp="1"/>
          </p:cNvSpPr>
          <p:nvPr>
            <p:ph sz="quarter" idx="11"/>
          </p:nvPr>
        </p:nvSpPr>
        <p:spPr>
          <a:xfrm>
            <a:off x="554038" y="2363788"/>
            <a:ext cx="2405062" cy="353045"/>
          </a:xfrm>
        </p:spPr>
        <p:txBody>
          <a:bodyPr/>
          <a:lstStyle/>
          <a:p>
            <a:pPr lvl="0"/>
            <a:r>
              <a:rPr lang="en-US"/>
              <a:t>Click to</a:t>
            </a:r>
          </a:p>
        </p:txBody>
      </p:sp>
      <p:grpSp>
        <p:nvGrpSpPr>
          <p:cNvPr id="9" name="data empowerment">
            <a:extLst>
              <a:ext uri="{FF2B5EF4-FFF2-40B4-BE49-F238E27FC236}">
                <a16:creationId xmlns:a16="http://schemas.microsoft.com/office/drawing/2014/main" id="{86C48EAA-2B2E-4A4E-98CA-8F9ACDF9BB2F}"/>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10" name="Rectangle 37">
              <a:extLst>
                <a:ext uri="{FF2B5EF4-FFF2-40B4-BE49-F238E27FC236}">
                  <a16:creationId xmlns:a16="http://schemas.microsoft.com/office/drawing/2014/main" id="{07AD2E39-A8AB-4B15-9D0E-68AED6CB084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38">
              <a:extLst>
                <a:ext uri="{FF2B5EF4-FFF2-40B4-BE49-F238E27FC236}">
                  <a16:creationId xmlns:a16="http://schemas.microsoft.com/office/drawing/2014/main" id="{7B28A605-E5FD-4473-BDCE-F74AE5854B3F}"/>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39">
              <a:extLst>
                <a:ext uri="{FF2B5EF4-FFF2-40B4-BE49-F238E27FC236}">
                  <a16:creationId xmlns:a16="http://schemas.microsoft.com/office/drawing/2014/main" id="{B85F9D7D-7FFD-4B5E-AA47-6C821A7B9535}"/>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40">
              <a:extLst>
                <a:ext uri="{FF2B5EF4-FFF2-40B4-BE49-F238E27FC236}">
                  <a16:creationId xmlns:a16="http://schemas.microsoft.com/office/drawing/2014/main" id="{9F668C65-2B11-49A6-98A7-82D319A51F6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41">
              <a:extLst>
                <a:ext uri="{FF2B5EF4-FFF2-40B4-BE49-F238E27FC236}">
                  <a16:creationId xmlns:a16="http://schemas.microsoft.com/office/drawing/2014/main" id="{02431462-C7FE-40CE-853A-11D483A68E3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Oval 42">
              <a:extLst>
                <a:ext uri="{FF2B5EF4-FFF2-40B4-BE49-F238E27FC236}">
                  <a16:creationId xmlns:a16="http://schemas.microsoft.com/office/drawing/2014/main" id="{D240CF66-B4D4-4DA4-9398-3D80BD771BE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53444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4B92D6-CFC2-4852-B044-E66B08202D2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967" y="0"/>
            <a:ext cx="12214115" cy="6888251"/>
          </a:xfrm>
          <a:prstGeom prst="rect">
            <a:avLst/>
          </a:prstGeom>
        </p:spPr>
      </p:pic>
      <p:sp>
        <p:nvSpPr>
          <p:cNvPr id="15" name="Rectangle 14">
            <a:extLst>
              <a:ext uri="{FF2B5EF4-FFF2-40B4-BE49-F238E27FC236}">
                <a16:creationId xmlns:a16="http://schemas.microsoft.com/office/drawing/2014/main" id="{BDE31774-1E91-4729-A9F9-71083F0AED8A}"/>
              </a:ext>
              <a:ext uri="{C183D7F6-B498-43B3-948B-1728B52AA6E4}">
                <adec:decorative xmlns:adec="http://schemas.microsoft.com/office/drawing/2017/decorative" val="1"/>
              </a:ext>
            </a:extLst>
          </p:cNvPr>
          <p:cNvSpPr/>
          <p:nvPr userDrawn="1"/>
        </p:nvSpPr>
        <p:spPr bwMode="auto">
          <a:xfrm>
            <a:off x="-22115" y="0"/>
            <a:ext cx="12227263" cy="6888251"/>
          </a:xfrm>
          <a:prstGeom prst="rect">
            <a:avLst/>
          </a:prstGeom>
          <a:solidFill>
            <a:schemeClr val="tx1">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D7EE6EC-6902-4F20-8D89-F89EA2D8084D}"/>
              </a:ext>
              <a:ext uri="{C183D7F6-B498-43B3-948B-1728B52AA6E4}">
                <adec:decorative xmlns:adec="http://schemas.microsoft.com/office/drawing/2017/decorative" val="1"/>
              </a:ext>
            </a:extLst>
          </p:cNvPr>
          <p:cNvSpPr/>
          <p:nvPr userDrawn="1"/>
        </p:nvSpPr>
        <p:spPr bwMode="auto">
          <a:xfrm>
            <a:off x="-27322" y="-1370"/>
            <a:ext cx="12161347" cy="1885313"/>
          </a:xfrm>
          <a:prstGeom prst="rect">
            <a:avLst/>
          </a:prstGeom>
          <a:gradFill flip="none" rotWithShape="1">
            <a:gsLst>
              <a:gs pos="0">
                <a:schemeClr val="tx1">
                  <a:alpha val="4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AC59005-54E7-425E-B13D-F37BA210DFD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65E2453-8D1C-4A87-82D1-4488A9B37171}"/>
              </a:ext>
            </a:extLst>
          </p:cNvPr>
          <p:cNvSpPr>
            <a:spLocks noGrp="1"/>
          </p:cNvSpPr>
          <p:nvPr>
            <p:ph sz="quarter" idx="10"/>
          </p:nvPr>
        </p:nvSpPr>
        <p:spPr>
          <a:xfrm>
            <a:off x="523875" y="1325563"/>
            <a:ext cx="2054225" cy="353045"/>
          </a:xfrm>
        </p:spPr>
        <p:txBody>
          <a:bodyPr/>
          <a:lstStyle/>
          <a:p>
            <a:pPr lvl="0"/>
            <a:r>
              <a:rPr lang="en-US"/>
              <a:t>Click to</a:t>
            </a:r>
          </a:p>
        </p:txBody>
      </p:sp>
      <p:sp>
        <p:nvSpPr>
          <p:cNvPr id="6" name="Content Placeholder 5">
            <a:extLst>
              <a:ext uri="{FF2B5EF4-FFF2-40B4-BE49-F238E27FC236}">
                <a16:creationId xmlns:a16="http://schemas.microsoft.com/office/drawing/2014/main" id="{8EA785D8-2914-4449-A3A4-4516AB51E101}"/>
              </a:ext>
            </a:extLst>
          </p:cNvPr>
          <p:cNvSpPr>
            <a:spLocks noGrp="1"/>
          </p:cNvSpPr>
          <p:nvPr>
            <p:ph sz="quarter" idx="11"/>
          </p:nvPr>
        </p:nvSpPr>
        <p:spPr>
          <a:xfrm>
            <a:off x="523875" y="1920875"/>
            <a:ext cx="2054225" cy="353045"/>
          </a:xfrm>
        </p:spPr>
        <p:txBody>
          <a:bodyPr/>
          <a:lstStyle/>
          <a:p>
            <a:pPr lvl="0"/>
            <a:r>
              <a:rPr lang="en-US"/>
              <a:t>Click to</a:t>
            </a:r>
          </a:p>
        </p:txBody>
      </p:sp>
      <p:sp>
        <p:nvSpPr>
          <p:cNvPr id="8" name="Content Placeholder 7">
            <a:extLst>
              <a:ext uri="{FF2B5EF4-FFF2-40B4-BE49-F238E27FC236}">
                <a16:creationId xmlns:a16="http://schemas.microsoft.com/office/drawing/2014/main" id="{52E6227F-AF62-46B1-81A8-98E4990BA67D}"/>
              </a:ext>
            </a:extLst>
          </p:cNvPr>
          <p:cNvSpPr>
            <a:spLocks noGrp="1"/>
          </p:cNvSpPr>
          <p:nvPr>
            <p:ph sz="quarter" idx="12"/>
          </p:nvPr>
        </p:nvSpPr>
        <p:spPr>
          <a:xfrm>
            <a:off x="427038" y="2476500"/>
            <a:ext cx="2054225" cy="353045"/>
          </a:xfrm>
        </p:spPr>
        <p:txBody>
          <a:bodyPr/>
          <a:lstStyle/>
          <a:p>
            <a:pPr lvl="0"/>
            <a:r>
              <a:rPr lang="en-US"/>
              <a:t>Click to</a:t>
            </a:r>
          </a:p>
        </p:txBody>
      </p:sp>
      <p:sp>
        <p:nvSpPr>
          <p:cNvPr id="10" name="Content Placeholder 9">
            <a:extLst>
              <a:ext uri="{FF2B5EF4-FFF2-40B4-BE49-F238E27FC236}">
                <a16:creationId xmlns:a16="http://schemas.microsoft.com/office/drawing/2014/main" id="{2B646146-3F22-4FC5-85AF-D0FD90EE6896}"/>
              </a:ext>
            </a:extLst>
          </p:cNvPr>
          <p:cNvSpPr>
            <a:spLocks noGrp="1"/>
          </p:cNvSpPr>
          <p:nvPr>
            <p:ph sz="quarter" idx="13"/>
          </p:nvPr>
        </p:nvSpPr>
        <p:spPr>
          <a:xfrm>
            <a:off x="523875" y="3051175"/>
            <a:ext cx="1957388" cy="353045"/>
          </a:xfrm>
        </p:spPr>
        <p:txBody>
          <a:bodyPr/>
          <a:lstStyle/>
          <a:p>
            <a:pPr lvl="0"/>
            <a:r>
              <a:rPr lang="en-US"/>
              <a:t>Click to</a:t>
            </a:r>
          </a:p>
        </p:txBody>
      </p:sp>
      <p:sp>
        <p:nvSpPr>
          <p:cNvPr id="12" name="Content Placeholder 11">
            <a:extLst>
              <a:ext uri="{FF2B5EF4-FFF2-40B4-BE49-F238E27FC236}">
                <a16:creationId xmlns:a16="http://schemas.microsoft.com/office/drawing/2014/main" id="{F7D1AE27-795C-43AC-A46F-8AF9E9846493}"/>
              </a:ext>
            </a:extLst>
          </p:cNvPr>
          <p:cNvSpPr>
            <a:spLocks noGrp="1"/>
          </p:cNvSpPr>
          <p:nvPr>
            <p:ph sz="quarter" idx="14"/>
          </p:nvPr>
        </p:nvSpPr>
        <p:spPr>
          <a:xfrm>
            <a:off x="523875" y="3781425"/>
            <a:ext cx="1787525" cy="353045"/>
          </a:xfrm>
        </p:spPr>
        <p:txBody>
          <a:bodyPr/>
          <a:lstStyle/>
          <a:p>
            <a:pPr lvl="0"/>
            <a:r>
              <a:rPr lang="en-US"/>
              <a:t>Click to</a:t>
            </a:r>
          </a:p>
        </p:txBody>
      </p:sp>
      <p:sp>
        <p:nvSpPr>
          <p:cNvPr id="14" name="Content Placeholder 13">
            <a:extLst>
              <a:ext uri="{FF2B5EF4-FFF2-40B4-BE49-F238E27FC236}">
                <a16:creationId xmlns:a16="http://schemas.microsoft.com/office/drawing/2014/main" id="{1D170AD9-C44B-41AC-B6E0-E3588456DCFE}"/>
              </a:ext>
            </a:extLst>
          </p:cNvPr>
          <p:cNvSpPr>
            <a:spLocks noGrp="1"/>
          </p:cNvSpPr>
          <p:nvPr>
            <p:ph sz="quarter" idx="15"/>
          </p:nvPr>
        </p:nvSpPr>
        <p:spPr>
          <a:xfrm>
            <a:off x="657225" y="4427538"/>
            <a:ext cx="1654175" cy="353045"/>
          </a:xfrm>
        </p:spPr>
        <p:txBody>
          <a:bodyPr/>
          <a:lstStyle/>
          <a:p>
            <a:pPr lvl="0"/>
            <a:r>
              <a:rPr lang="en-US"/>
              <a:t>Click</a:t>
            </a:r>
          </a:p>
        </p:txBody>
      </p:sp>
      <p:sp>
        <p:nvSpPr>
          <p:cNvPr id="16" name="Content Placeholder 15">
            <a:extLst>
              <a:ext uri="{FF2B5EF4-FFF2-40B4-BE49-F238E27FC236}">
                <a16:creationId xmlns:a16="http://schemas.microsoft.com/office/drawing/2014/main" id="{50340D40-2FEB-4BF6-9CCB-72414718A7FE}"/>
              </a:ext>
            </a:extLst>
          </p:cNvPr>
          <p:cNvSpPr>
            <a:spLocks noGrp="1"/>
          </p:cNvSpPr>
          <p:nvPr>
            <p:ph sz="quarter" idx="16"/>
          </p:nvPr>
        </p:nvSpPr>
        <p:spPr>
          <a:xfrm>
            <a:off x="3154363" y="1212850"/>
            <a:ext cx="1890712" cy="353045"/>
          </a:xfrm>
        </p:spPr>
        <p:txBody>
          <a:bodyPr/>
          <a:lstStyle/>
          <a:p>
            <a:pPr lvl="0"/>
            <a:r>
              <a:rPr lang="en-US"/>
              <a:t>Click to</a:t>
            </a:r>
          </a:p>
        </p:txBody>
      </p:sp>
      <p:sp>
        <p:nvSpPr>
          <p:cNvPr id="18" name="Content Placeholder 17">
            <a:extLst>
              <a:ext uri="{FF2B5EF4-FFF2-40B4-BE49-F238E27FC236}">
                <a16:creationId xmlns:a16="http://schemas.microsoft.com/office/drawing/2014/main" id="{BDE2A50C-427B-49FC-B142-CBC5FC5F0627}"/>
              </a:ext>
            </a:extLst>
          </p:cNvPr>
          <p:cNvSpPr>
            <a:spLocks noGrp="1"/>
          </p:cNvSpPr>
          <p:nvPr>
            <p:ph sz="quarter" idx="17"/>
          </p:nvPr>
        </p:nvSpPr>
        <p:spPr>
          <a:xfrm>
            <a:off x="3062288" y="1838325"/>
            <a:ext cx="1612900" cy="353045"/>
          </a:xfrm>
        </p:spPr>
        <p:txBody>
          <a:bodyPr/>
          <a:lstStyle/>
          <a:p>
            <a:pPr lvl="0"/>
            <a:r>
              <a:rPr lang="en-US"/>
              <a:t>Click</a:t>
            </a:r>
          </a:p>
        </p:txBody>
      </p:sp>
      <p:sp>
        <p:nvSpPr>
          <p:cNvPr id="19" name="Slide Number Placeholder 1">
            <a:extLst>
              <a:ext uri="{FF2B5EF4-FFF2-40B4-BE49-F238E27FC236}">
                <a16:creationId xmlns:a16="http://schemas.microsoft.com/office/drawing/2014/main" id="{A678877C-7DB7-4482-872B-844D3A762CAD}"/>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20" name="data empowerment">
            <a:extLst>
              <a:ext uri="{FF2B5EF4-FFF2-40B4-BE49-F238E27FC236}">
                <a16:creationId xmlns:a16="http://schemas.microsoft.com/office/drawing/2014/main" id="{F6F23C4F-551E-43B3-AD2E-01190F2F6D2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1" name="Rectangle 37">
              <a:extLst>
                <a:ext uri="{FF2B5EF4-FFF2-40B4-BE49-F238E27FC236}">
                  <a16:creationId xmlns:a16="http://schemas.microsoft.com/office/drawing/2014/main" id="{1D66A433-6441-436C-BF27-488A3CF35DC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8">
              <a:extLst>
                <a:ext uri="{FF2B5EF4-FFF2-40B4-BE49-F238E27FC236}">
                  <a16:creationId xmlns:a16="http://schemas.microsoft.com/office/drawing/2014/main" id="{F7C18580-FCAE-4616-897A-4B2766D3C495}"/>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9">
              <a:extLst>
                <a:ext uri="{FF2B5EF4-FFF2-40B4-BE49-F238E27FC236}">
                  <a16:creationId xmlns:a16="http://schemas.microsoft.com/office/drawing/2014/main" id="{878CE2A0-9F6E-40DB-8D77-7CF408C18C2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40">
              <a:extLst>
                <a:ext uri="{FF2B5EF4-FFF2-40B4-BE49-F238E27FC236}">
                  <a16:creationId xmlns:a16="http://schemas.microsoft.com/office/drawing/2014/main" id="{EBFCA4D4-5CC5-4B67-B096-6D683BA0354A}"/>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41">
              <a:extLst>
                <a:ext uri="{FF2B5EF4-FFF2-40B4-BE49-F238E27FC236}">
                  <a16:creationId xmlns:a16="http://schemas.microsoft.com/office/drawing/2014/main" id="{6CF4CA8C-A8BC-42FA-BF57-3E47FE6024E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Oval 42">
              <a:extLst>
                <a:ext uri="{FF2B5EF4-FFF2-40B4-BE49-F238E27FC236}">
                  <a16:creationId xmlns:a16="http://schemas.microsoft.com/office/drawing/2014/main" id="{6DEB6C22-1FCA-4336-AC38-5568872B1C93}"/>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294613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 calcmode="lin" valueType="num">
                                      <p:cBhvr additive="base">
                                        <p:cTn id="10" dur="750" fill="hold"/>
                                        <p:tgtEl>
                                          <p:spTgt spid="17"/>
                                        </p:tgtEl>
                                        <p:attrNameLst>
                                          <p:attrName>ppt_x</p:attrName>
                                        </p:attrNameLst>
                                      </p:cBhvr>
                                      <p:tavLst>
                                        <p:tav tm="0">
                                          <p:val>
                                            <p:strVal val="#ppt_x"/>
                                          </p:val>
                                        </p:tav>
                                        <p:tav tm="100000">
                                          <p:val>
                                            <p:strVal val="#ppt_x"/>
                                          </p:val>
                                        </p:tav>
                                      </p:tavLst>
                                    </p:anim>
                                    <p:anim calcmode="lin" valueType="num">
                                      <p:cBhvr additive="base">
                                        <p:cTn id="11" dur="75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F16A8-6AC7-4677-9452-728471A81C5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840DDF1-AF89-4470-AB41-D1C9164606C5}"/>
              </a:ext>
            </a:extLst>
          </p:cNvPr>
          <p:cNvSpPr>
            <a:spLocks noGrp="1"/>
          </p:cNvSpPr>
          <p:nvPr>
            <p:ph sz="quarter" idx="10"/>
          </p:nvPr>
        </p:nvSpPr>
        <p:spPr>
          <a:xfrm>
            <a:off x="749300" y="1854200"/>
            <a:ext cx="4533900" cy="353045"/>
          </a:xfrm>
        </p:spPr>
        <p:txBody>
          <a:bodyPr/>
          <a:lstStyle/>
          <a:p>
            <a:pPr lvl="0"/>
            <a:r>
              <a:rPr lang="en-US"/>
              <a:t>Click to edit</a:t>
            </a:r>
          </a:p>
        </p:txBody>
      </p:sp>
      <p:sp>
        <p:nvSpPr>
          <p:cNvPr id="5" name="Rectangle 4">
            <a:extLst>
              <a:ext uri="{FF2B5EF4-FFF2-40B4-BE49-F238E27FC236}">
                <a16:creationId xmlns:a16="http://schemas.microsoft.com/office/drawing/2014/main" id="{F496A37D-B2B4-44C3-A9BB-607BF973A72B}"/>
              </a:ext>
              <a:ext uri="{C183D7F6-B498-43B3-948B-1728B52AA6E4}">
                <adec:decorative xmlns:adec="http://schemas.microsoft.com/office/drawing/2017/decorative" val="1"/>
              </a:ext>
            </a:extLst>
          </p:cNvPr>
          <p:cNvSpPr/>
          <p:nvPr userDrawn="1"/>
        </p:nvSpPr>
        <p:spPr bwMode="auto">
          <a:xfrm>
            <a:off x="1055077" y="1714578"/>
            <a:ext cx="6494585" cy="4477878"/>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A2A2958B-9AB2-406E-B70A-CA60358AEF2E}"/>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508A6F2E-9DF0-4CDD-A43E-ED531121DFC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54B38980-A6B5-4682-AB07-AE362F942284}"/>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62B961C8-786B-4CCE-BB7D-DBB56E43490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EA866BAA-C733-4691-889D-A63722A03B8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C1ECB889-D7D4-4BD6-8508-95B53AAC160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69ED7F45-C25A-4369-9368-2388B58F4E47}"/>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5089208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746EC-6476-4D13-B082-B49254009FA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BFEBB67-E6EE-4DDC-A8EE-F32D336F95C7}"/>
              </a:ext>
            </a:extLst>
          </p:cNvPr>
          <p:cNvSpPr>
            <a:spLocks noGrp="1"/>
          </p:cNvSpPr>
          <p:nvPr>
            <p:ph sz="quarter" idx="10"/>
          </p:nvPr>
        </p:nvSpPr>
        <p:spPr>
          <a:xfrm>
            <a:off x="627063" y="1550988"/>
            <a:ext cx="2157412" cy="353045"/>
          </a:xfrm>
        </p:spPr>
        <p:txBody>
          <a:bodyPr/>
          <a:lstStyle/>
          <a:p>
            <a:pPr lvl="0"/>
            <a:r>
              <a:rPr lang="en-US"/>
              <a:t>Click to</a:t>
            </a:r>
          </a:p>
        </p:txBody>
      </p:sp>
      <p:sp>
        <p:nvSpPr>
          <p:cNvPr id="6" name="Content Placeholder 5">
            <a:extLst>
              <a:ext uri="{FF2B5EF4-FFF2-40B4-BE49-F238E27FC236}">
                <a16:creationId xmlns:a16="http://schemas.microsoft.com/office/drawing/2014/main" id="{CC44214A-4B27-47D1-B83F-ABDC839039F9}"/>
              </a:ext>
            </a:extLst>
          </p:cNvPr>
          <p:cNvSpPr>
            <a:spLocks noGrp="1"/>
          </p:cNvSpPr>
          <p:nvPr>
            <p:ph sz="quarter" idx="11"/>
          </p:nvPr>
        </p:nvSpPr>
        <p:spPr>
          <a:xfrm>
            <a:off x="627063" y="2178050"/>
            <a:ext cx="2157412" cy="353045"/>
          </a:xfrm>
        </p:spPr>
        <p:txBody>
          <a:bodyPr/>
          <a:lstStyle/>
          <a:p>
            <a:pPr lvl="0"/>
            <a:r>
              <a:rPr lang="en-US"/>
              <a:t>Click to</a:t>
            </a:r>
          </a:p>
        </p:txBody>
      </p:sp>
      <p:sp>
        <p:nvSpPr>
          <p:cNvPr id="8" name="Content Placeholder 7">
            <a:extLst>
              <a:ext uri="{FF2B5EF4-FFF2-40B4-BE49-F238E27FC236}">
                <a16:creationId xmlns:a16="http://schemas.microsoft.com/office/drawing/2014/main" id="{ADDBB222-019A-47CA-ACA2-E51F3DDDEF47}"/>
              </a:ext>
            </a:extLst>
          </p:cNvPr>
          <p:cNvSpPr>
            <a:spLocks noGrp="1"/>
          </p:cNvSpPr>
          <p:nvPr>
            <p:ph sz="quarter" idx="12"/>
          </p:nvPr>
        </p:nvSpPr>
        <p:spPr>
          <a:xfrm>
            <a:off x="627063" y="2773363"/>
            <a:ext cx="2157412" cy="353045"/>
          </a:xfrm>
        </p:spPr>
        <p:txBody>
          <a:bodyPr/>
          <a:lstStyle/>
          <a:p>
            <a:pPr lvl="0"/>
            <a:r>
              <a:rPr lang="en-US"/>
              <a:t>Click to</a:t>
            </a:r>
          </a:p>
        </p:txBody>
      </p:sp>
      <p:sp>
        <p:nvSpPr>
          <p:cNvPr id="10" name="Content Placeholder 9">
            <a:extLst>
              <a:ext uri="{FF2B5EF4-FFF2-40B4-BE49-F238E27FC236}">
                <a16:creationId xmlns:a16="http://schemas.microsoft.com/office/drawing/2014/main" id="{B36E2E01-C7CF-4F1C-9B30-2011F54A9DFF}"/>
              </a:ext>
            </a:extLst>
          </p:cNvPr>
          <p:cNvSpPr>
            <a:spLocks noGrp="1"/>
          </p:cNvSpPr>
          <p:nvPr>
            <p:ph sz="quarter" idx="13"/>
          </p:nvPr>
        </p:nvSpPr>
        <p:spPr>
          <a:xfrm>
            <a:off x="627063" y="3429000"/>
            <a:ext cx="2157412" cy="353045"/>
          </a:xfrm>
        </p:spPr>
        <p:txBody>
          <a:bodyPr/>
          <a:lstStyle/>
          <a:p>
            <a:pPr lvl="0"/>
            <a:r>
              <a:rPr lang="en-US"/>
              <a:t>Click to</a:t>
            </a:r>
          </a:p>
        </p:txBody>
      </p:sp>
      <p:sp>
        <p:nvSpPr>
          <p:cNvPr id="12" name="Content Placeholder 11">
            <a:extLst>
              <a:ext uri="{FF2B5EF4-FFF2-40B4-BE49-F238E27FC236}">
                <a16:creationId xmlns:a16="http://schemas.microsoft.com/office/drawing/2014/main" id="{A69AEB23-B1EC-418E-AEC5-A11BC68603DD}"/>
              </a:ext>
            </a:extLst>
          </p:cNvPr>
          <p:cNvSpPr>
            <a:spLocks noGrp="1"/>
          </p:cNvSpPr>
          <p:nvPr>
            <p:ph sz="quarter" idx="14"/>
          </p:nvPr>
        </p:nvSpPr>
        <p:spPr>
          <a:xfrm>
            <a:off x="627063" y="4057650"/>
            <a:ext cx="1931987" cy="353045"/>
          </a:xfrm>
        </p:spPr>
        <p:txBody>
          <a:bodyPr/>
          <a:lstStyle/>
          <a:p>
            <a:pPr lvl="0"/>
            <a:r>
              <a:rPr lang="en-US"/>
              <a:t>Click to</a:t>
            </a:r>
          </a:p>
        </p:txBody>
      </p:sp>
      <p:sp>
        <p:nvSpPr>
          <p:cNvPr id="14" name="Content Placeholder 13">
            <a:extLst>
              <a:ext uri="{FF2B5EF4-FFF2-40B4-BE49-F238E27FC236}">
                <a16:creationId xmlns:a16="http://schemas.microsoft.com/office/drawing/2014/main" id="{46AB205A-338C-4599-8DF8-819E67A95A93}"/>
              </a:ext>
            </a:extLst>
          </p:cNvPr>
          <p:cNvSpPr>
            <a:spLocks noGrp="1"/>
          </p:cNvSpPr>
          <p:nvPr>
            <p:ph sz="quarter" idx="15"/>
          </p:nvPr>
        </p:nvSpPr>
        <p:spPr>
          <a:xfrm>
            <a:off x="627063" y="4725988"/>
            <a:ext cx="2065337" cy="353045"/>
          </a:xfrm>
        </p:spPr>
        <p:txBody>
          <a:bodyPr/>
          <a:lstStyle/>
          <a:p>
            <a:pPr lvl="0"/>
            <a:r>
              <a:rPr lang="en-US"/>
              <a:t>Click to</a:t>
            </a:r>
          </a:p>
        </p:txBody>
      </p:sp>
      <p:sp>
        <p:nvSpPr>
          <p:cNvPr id="16" name="Content Placeholder 15">
            <a:extLst>
              <a:ext uri="{FF2B5EF4-FFF2-40B4-BE49-F238E27FC236}">
                <a16:creationId xmlns:a16="http://schemas.microsoft.com/office/drawing/2014/main" id="{5F79AE09-CBB3-4487-9522-7292A96079F3}"/>
              </a:ext>
            </a:extLst>
          </p:cNvPr>
          <p:cNvSpPr>
            <a:spLocks noGrp="1"/>
          </p:cNvSpPr>
          <p:nvPr>
            <p:ph sz="quarter" idx="16"/>
          </p:nvPr>
        </p:nvSpPr>
        <p:spPr>
          <a:xfrm>
            <a:off x="3278188" y="1550988"/>
            <a:ext cx="1323975" cy="352425"/>
          </a:xfrm>
        </p:spPr>
        <p:txBody>
          <a:bodyPr/>
          <a:lstStyle/>
          <a:p>
            <a:pPr lvl="0"/>
            <a:r>
              <a:rPr lang="en-US"/>
              <a:t>Click</a:t>
            </a:r>
          </a:p>
        </p:txBody>
      </p:sp>
      <p:sp>
        <p:nvSpPr>
          <p:cNvPr id="18" name="Content Placeholder 17">
            <a:extLst>
              <a:ext uri="{FF2B5EF4-FFF2-40B4-BE49-F238E27FC236}">
                <a16:creationId xmlns:a16="http://schemas.microsoft.com/office/drawing/2014/main" id="{B6FE1E70-DF8C-42C0-8008-297C87560539}"/>
              </a:ext>
            </a:extLst>
          </p:cNvPr>
          <p:cNvSpPr>
            <a:spLocks noGrp="1"/>
          </p:cNvSpPr>
          <p:nvPr>
            <p:ph sz="quarter" idx="17"/>
          </p:nvPr>
        </p:nvSpPr>
        <p:spPr>
          <a:xfrm>
            <a:off x="3278188" y="2178050"/>
            <a:ext cx="1323975" cy="353045"/>
          </a:xfrm>
        </p:spPr>
        <p:txBody>
          <a:bodyPr/>
          <a:lstStyle/>
          <a:p>
            <a:pPr lvl="0"/>
            <a:r>
              <a:rPr lang="en-US"/>
              <a:t>Click</a:t>
            </a:r>
          </a:p>
        </p:txBody>
      </p:sp>
      <p:sp>
        <p:nvSpPr>
          <p:cNvPr id="20" name="Content Placeholder 19">
            <a:extLst>
              <a:ext uri="{FF2B5EF4-FFF2-40B4-BE49-F238E27FC236}">
                <a16:creationId xmlns:a16="http://schemas.microsoft.com/office/drawing/2014/main" id="{F5301849-AD91-4FF0-B244-1B8B6A70DE6C}"/>
              </a:ext>
            </a:extLst>
          </p:cNvPr>
          <p:cNvSpPr>
            <a:spLocks noGrp="1"/>
          </p:cNvSpPr>
          <p:nvPr>
            <p:ph sz="quarter" idx="18"/>
          </p:nvPr>
        </p:nvSpPr>
        <p:spPr>
          <a:xfrm>
            <a:off x="3278188" y="2773363"/>
            <a:ext cx="1323975" cy="353045"/>
          </a:xfrm>
        </p:spPr>
        <p:txBody>
          <a:bodyPr/>
          <a:lstStyle/>
          <a:p>
            <a:pPr lvl="0"/>
            <a:r>
              <a:rPr lang="en-US"/>
              <a:t>Click</a:t>
            </a:r>
          </a:p>
        </p:txBody>
      </p:sp>
      <p:sp>
        <p:nvSpPr>
          <p:cNvPr id="22" name="Content Placeholder 21">
            <a:extLst>
              <a:ext uri="{FF2B5EF4-FFF2-40B4-BE49-F238E27FC236}">
                <a16:creationId xmlns:a16="http://schemas.microsoft.com/office/drawing/2014/main" id="{DCDA5FCE-FFD0-437F-8822-33DA8D52B737}"/>
              </a:ext>
            </a:extLst>
          </p:cNvPr>
          <p:cNvSpPr>
            <a:spLocks noGrp="1"/>
          </p:cNvSpPr>
          <p:nvPr>
            <p:ph sz="quarter" idx="19"/>
          </p:nvPr>
        </p:nvSpPr>
        <p:spPr>
          <a:xfrm>
            <a:off x="3278188" y="3308350"/>
            <a:ext cx="1323975" cy="353045"/>
          </a:xfrm>
        </p:spPr>
        <p:txBody>
          <a:bodyPr/>
          <a:lstStyle/>
          <a:p>
            <a:pPr lvl="0"/>
            <a:r>
              <a:rPr lang="en-US"/>
              <a:t>Click</a:t>
            </a:r>
          </a:p>
        </p:txBody>
      </p:sp>
      <p:sp>
        <p:nvSpPr>
          <p:cNvPr id="24" name="Content Placeholder 23">
            <a:extLst>
              <a:ext uri="{FF2B5EF4-FFF2-40B4-BE49-F238E27FC236}">
                <a16:creationId xmlns:a16="http://schemas.microsoft.com/office/drawing/2014/main" id="{11DA2134-BBFD-4664-8025-F51CEE15FF6D}"/>
              </a:ext>
            </a:extLst>
          </p:cNvPr>
          <p:cNvSpPr>
            <a:spLocks noGrp="1"/>
          </p:cNvSpPr>
          <p:nvPr>
            <p:ph sz="quarter" idx="20"/>
          </p:nvPr>
        </p:nvSpPr>
        <p:spPr>
          <a:xfrm>
            <a:off x="3278188" y="3781425"/>
            <a:ext cx="1612900" cy="353045"/>
          </a:xfrm>
        </p:spPr>
        <p:txBody>
          <a:bodyPr/>
          <a:lstStyle/>
          <a:p>
            <a:pPr lvl="0"/>
            <a:r>
              <a:rPr lang="en-US"/>
              <a:t>Click to</a:t>
            </a:r>
          </a:p>
        </p:txBody>
      </p:sp>
      <p:pic>
        <p:nvPicPr>
          <p:cNvPr id="15" name="Picture Placeholder 7">
            <a:extLst>
              <a:ext uri="{FF2B5EF4-FFF2-40B4-BE49-F238E27FC236}">
                <a16:creationId xmlns:a16="http://schemas.microsoft.com/office/drawing/2014/main" id="{D8675358-0144-4326-B950-D0C920A53471}"/>
              </a:ext>
              <a:ext uri="{C183D7F6-B498-43B3-948B-1728B52AA6E4}">
                <adec:decorative xmlns:adec="http://schemas.microsoft.com/office/drawing/2017/decorative" val="1"/>
              </a:ext>
            </a:extLst>
          </p:cNvPr>
          <p:cNvPicPr>
            <a:picLocks noChangeAspect="1"/>
          </p:cNvPicPr>
          <p:nvPr userDrawn="1"/>
        </p:nvPicPr>
        <p:blipFill rotWithShape="1">
          <a:blip r:embed="rId2"/>
          <a:srcRect l="4943" t="27160" r="3087" b="570"/>
          <a:stretch/>
        </p:blipFill>
        <p:spPr>
          <a:xfrm>
            <a:off x="1" y="0"/>
            <a:ext cx="12192000" cy="5005754"/>
          </a:xfrm>
          <a:prstGeom prst="rect">
            <a:avLst/>
          </a:prstGeom>
        </p:spPr>
      </p:pic>
      <p:sp>
        <p:nvSpPr>
          <p:cNvPr id="17" name="Rectangle 16">
            <a:extLst>
              <a:ext uri="{FF2B5EF4-FFF2-40B4-BE49-F238E27FC236}">
                <a16:creationId xmlns:a16="http://schemas.microsoft.com/office/drawing/2014/main" id="{C863CD68-BA08-4764-8C8C-CC5DC1AB3C02}"/>
              </a:ext>
              <a:ext uri="{C183D7F6-B498-43B3-948B-1728B52AA6E4}">
                <adec:decorative xmlns:adec="http://schemas.microsoft.com/office/drawing/2017/decorative" val="1"/>
              </a:ext>
            </a:extLst>
          </p:cNvPr>
          <p:cNvSpPr/>
          <p:nvPr userDrawn="1"/>
        </p:nvSpPr>
        <p:spPr bwMode="auto">
          <a:xfrm>
            <a:off x="0" y="2468880"/>
            <a:ext cx="12192000" cy="4406365"/>
          </a:xfrm>
          <a:prstGeom prst="rect">
            <a:avLst/>
          </a:prstGeom>
          <a:gradFill flip="none" rotWithShape="1">
            <a:gsLst>
              <a:gs pos="55000">
                <a:srgbClr val="000000"/>
              </a:gs>
              <a:gs pos="89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344545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B7F0F-47B0-4EA2-A038-E6629B2B1C0B}"/>
              </a:ext>
            </a:extLst>
          </p:cNvPr>
          <p:cNvSpPr>
            <a:spLocks noGrp="1"/>
          </p:cNvSpPr>
          <p:nvPr>
            <p:ph type="title"/>
          </p:nvPr>
        </p:nvSpPr>
        <p:spPr/>
        <p:txBody>
          <a:bodyPr/>
          <a:lstStyle/>
          <a:p>
            <a:r>
              <a:rPr lang="en-US"/>
              <a:t>Click to edit Master title style</a:t>
            </a:r>
          </a:p>
        </p:txBody>
      </p:sp>
      <p:pic>
        <p:nvPicPr>
          <p:cNvPr id="5" name="Picture Placeholder 7">
            <a:extLst>
              <a:ext uri="{FF2B5EF4-FFF2-40B4-BE49-F238E27FC236}">
                <a16:creationId xmlns:a16="http://schemas.microsoft.com/office/drawing/2014/main" id="{68C83784-B53F-4F68-8C82-96DA7710C493}"/>
              </a:ext>
              <a:ext uri="{C183D7F6-B498-43B3-948B-1728B52AA6E4}">
                <adec:decorative xmlns:adec="http://schemas.microsoft.com/office/drawing/2017/decorative" val="1"/>
              </a:ext>
            </a:extLst>
          </p:cNvPr>
          <p:cNvPicPr>
            <a:picLocks noChangeAspect="1"/>
          </p:cNvPicPr>
          <p:nvPr userDrawn="1"/>
        </p:nvPicPr>
        <p:blipFill rotWithShape="1">
          <a:blip r:embed="rId2"/>
          <a:srcRect l="4943" t="418" r="3087" b="570"/>
          <a:stretch/>
        </p:blipFill>
        <p:spPr>
          <a:xfrm>
            <a:off x="1" y="-1"/>
            <a:ext cx="12192000" cy="6858001"/>
          </a:xfrm>
          <a:prstGeom prst="rect">
            <a:avLst/>
          </a:prstGeom>
        </p:spPr>
      </p:pic>
      <p:sp>
        <p:nvSpPr>
          <p:cNvPr id="7" name="Rectangle 6">
            <a:extLst>
              <a:ext uri="{FF2B5EF4-FFF2-40B4-BE49-F238E27FC236}">
                <a16:creationId xmlns:a16="http://schemas.microsoft.com/office/drawing/2014/main" id="{7547D342-5A20-4694-A740-BFDC84754666}"/>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F92578B7-24A8-4A0B-A079-7C4213BBE26D}"/>
              </a:ext>
            </a:extLst>
          </p:cNvPr>
          <p:cNvSpPr>
            <a:spLocks noGrp="1"/>
          </p:cNvSpPr>
          <p:nvPr>
            <p:ph sz="quarter" idx="10"/>
          </p:nvPr>
        </p:nvSpPr>
        <p:spPr>
          <a:xfrm>
            <a:off x="1293813" y="1603375"/>
            <a:ext cx="2682875" cy="353045"/>
          </a:xfrm>
        </p:spPr>
        <p:txBody>
          <a:bodyPr/>
          <a:lstStyle/>
          <a:p>
            <a:pPr lvl="0"/>
            <a:r>
              <a:rPr lang="en-US"/>
              <a:t>Click to</a:t>
            </a:r>
          </a:p>
        </p:txBody>
      </p:sp>
      <p:sp>
        <p:nvSpPr>
          <p:cNvPr id="6" name="Content Placeholder 5">
            <a:extLst>
              <a:ext uri="{FF2B5EF4-FFF2-40B4-BE49-F238E27FC236}">
                <a16:creationId xmlns:a16="http://schemas.microsoft.com/office/drawing/2014/main" id="{8FBEB05B-E5BF-4974-9159-368B912A1FDB}"/>
              </a:ext>
            </a:extLst>
          </p:cNvPr>
          <p:cNvSpPr>
            <a:spLocks noGrp="1"/>
          </p:cNvSpPr>
          <p:nvPr>
            <p:ph sz="quarter" idx="11"/>
          </p:nvPr>
        </p:nvSpPr>
        <p:spPr>
          <a:xfrm>
            <a:off x="1366838" y="2363788"/>
            <a:ext cx="2486025" cy="352425"/>
          </a:xfrm>
        </p:spPr>
        <p:txBody>
          <a:bodyPr/>
          <a:lstStyle/>
          <a:p>
            <a:pPr lvl="0"/>
            <a:r>
              <a:rPr lang="en-US"/>
              <a:t>Click to edit</a:t>
            </a:r>
          </a:p>
        </p:txBody>
      </p:sp>
    </p:spTree>
    <p:extLst>
      <p:ext uri="{BB962C8B-B14F-4D97-AF65-F5344CB8AC3E}">
        <p14:creationId xmlns:p14="http://schemas.microsoft.com/office/powerpoint/2010/main" val="444442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8450D-9AA4-4F58-AF9E-53F70F75A10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2BFAEE-843B-412B-BA76-7B59809F99B3}"/>
              </a:ext>
            </a:extLst>
          </p:cNvPr>
          <p:cNvSpPr>
            <a:spLocks noGrp="1"/>
          </p:cNvSpPr>
          <p:nvPr>
            <p:ph sz="quarter" idx="10"/>
          </p:nvPr>
        </p:nvSpPr>
        <p:spPr>
          <a:xfrm>
            <a:off x="427038" y="1222375"/>
            <a:ext cx="2316162" cy="353045"/>
          </a:xfrm>
        </p:spPr>
        <p:txBody>
          <a:bodyPr/>
          <a:lstStyle/>
          <a:p>
            <a:pPr lvl="0"/>
            <a:r>
              <a:rPr lang="en-US"/>
              <a:t>Click to</a:t>
            </a:r>
          </a:p>
        </p:txBody>
      </p:sp>
      <p:sp>
        <p:nvSpPr>
          <p:cNvPr id="6" name="Content Placeholder 5">
            <a:extLst>
              <a:ext uri="{FF2B5EF4-FFF2-40B4-BE49-F238E27FC236}">
                <a16:creationId xmlns:a16="http://schemas.microsoft.com/office/drawing/2014/main" id="{BFB1C3E6-1928-4A08-BA58-234389732455}"/>
              </a:ext>
            </a:extLst>
          </p:cNvPr>
          <p:cNvSpPr>
            <a:spLocks noGrp="1"/>
          </p:cNvSpPr>
          <p:nvPr>
            <p:ph sz="quarter" idx="11"/>
          </p:nvPr>
        </p:nvSpPr>
        <p:spPr>
          <a:xfrm>
            <a:off x="427038" y="1858963"/>
            <a:ext cx="2316162"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6CF7F023-ABC6-45EA-B7E0-6CC86E49B26F}"/>
              </a:ext>
            </a:extLst>
          </p:cNvPr>
          <p:cNvSpPr>
            <a:spLocks noGrp="1"/>
          </p:cNvSpPr>
          <p:nvPr>
            <p:ph sz="quarter" idx="12"/>
          </p:nvPr>
        </p:nvSpPr>
        <p:spPr>
          <a:xfrm>
            <a:off x="427038" y="2640013"/>
            <a:ext cx="23161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84CB95-0816-481F-9E96-390BE266C585}"/>
              </a:ext>
            </a:extLst>
          </p:cNvPr>
          <p:cNvSpPr>
            <a:spLocks noGrp="1"/>
          </p:cNvSpPr>
          <p:nvPr>
            <p:ph sz="quarter" idx="13"/>
          </p:nvPr>
        </p:nvSpPr>
        <p:spPr>
          <a:xfrm>
            <a:off x="427038" y="3429000"/>
            <a:ext cx="2224087"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465FCE02-9ACA-4B9B-81E9-CE418CCDA9FE}"/>
              </a:ext>
            </a:extLst>
          </p:cNvPr>
          <p:cNvSpPr>
            <a:spLocks noGrp="1"/>
          </p:cNvSpPr>
          <p:nvPr>
            <p:ph sz="quarter" idx="14"/>
          </p:nvPr>
        </p:nvSpPr>
        <p:spPr>
          <a:xfrm>
            <a:off x="3924300" y="1222375"/>
            <a:ext cx="2316163" cy="352425"/>
          </a:xfrm>
        </p:spPr>
        <p:txBody>
          <a:bodyPr/>
          <a:lstStyle/>
          <a:p>
            <a:pPr lvl="0"/>
            <a:r>
              <a:rPr lang="en-US"/>
              <a:t>Click to edit</a:t>
            </a:r>
          </a:p>
        </p:txBody>
      </p:sp>
      <p:sp>
        <p:nvSpPr>
          <p:cNvPr id="14" name="Content Placeholder 13">
            <a:extLst>
              <a:ext uri="{FF2B5EF4-FFF2-40B4-BE49-F238E27FC236}">
                <a16:creationId xmlns:a16="http://schemas.microsoft.com/office/drawing/2014/main" id="{11E6025E-1A7A-475B-9338-48AB65CFD9C2}"/>
              </a:ext>
            </a:extLst>
          </p:cNvPr>
          <p:cNvSpPr>
            <a:spLocks noGrp="1"/>
          </p:cNvSpPr>
          <p:nvPr>
            <p:ph sz="quarter" idx="15"/>
          </p:nvPr>
        </p:nvSpPr>
        <p:spPr>
          <a:xfrm>
            <a:off x="3924300" y="1858963"/>
            <a:ext cx="2171700" cy="352425"/>
          </a:xfrm>
        </p:spPr>
        <p:txBody>
          <a:bodyPr/>
          <a:lstStyle/>
          <a:p>
            <a:pPr lvl="0"/>
            <a:r>
              <a:rPr lang="en-US"/>
              <a:t>Click to edit</a:t>
            </a:r>
          </a:p>
        </p:txBody>
      </p:sp>
      <p:sp>
        <p:nvSpPr>
          <p:cNvPr id="16" name="Content Placeholder 15">
            <a:extLst>
              <a:ext uri="{FF2B5EF4-FFF2-40B4-BE49-F238E27FC236}">
                <a16:creationId xmlns:a16="http://schemas.microsoft.com/office/drawing/2014/main" id="{D3933E5A-E531-4123-8FC4-0A27D8E276AE}"/>
              </a:ext>
            </a:extLst>
          </p:cNvPr>
          <p:cNvSpPr>
            <a:spLocks noGrp="1"/>
          </p:cNvSpPr>
          <p:nvPr>
            <p:ph sz="quarter" idx="16"/>
          </p:nvPr>
        </p:nvSpPr>
        <p:spPr>
          <a:xfrm>
            <a:off x="3802063" y="2476500"/>
            <a:ext cx="21717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2F741E9-69A1-480D-A810-E5A856951488}"/>
              </a:ext>
            </a:extLst>
          </p:cNvPr>
          <p:cNvSpPr>
            <a:spLocks noGrp="1"/>
          </p:cNvSpPr>
          <p:nvPr>
            <p:ph sz="quarter" idx="17"/>
          </p:nvPr>
        </p:nvSpPr>
        <p:spPr>
          <a:xfrm>
            <a:off x="3802063" y="3236913"/>
            <a:ext cx="2293937" cy="352425"/>
          </a:xfrm>
        </p:spPr>
        <p:txBody>
          <a:bodyPr/>
          <a:lstStyle/>
          <a:p>
            <a:pPr lvl="0"/>
            <a:r>
              <a:rPr lang="en-US"/>
              <a:t>Click to edit</a:t>
            </a:r>
          </a:p>
        </p:txBody>
      </p:sp>
      <p:sp>
        <p:nvSpPr>
          <p:cNvPr id="19" name="Slide Number Placeholder 1">
            <a:extLst>
              <a:ext uri="{FF2B5EF4-FFF2-40B4-BE49-F238E27FC236}">
                <a16:creationId xmlns:a16="http://schemas.microsoft.com/office/drawing/2014/main" id="{EFD0D2BB-B574-4EF0-88C6-5D21394C377C}"/>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251D7BB2-D599-4705-A3A1-0196206938E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476"/>
          <a:stretch/>
        </p:blipFill>
        <p:spPr bwMode="auto">
          <a:xfrm>
            <a:off x="-1" y="1239506"/>
            <a:ext cx="7997109" cy="564973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4691996-93B5-44FA-A561-2C10E8F6CC10}"/>
              </a:ext>
              <a:ext uri="{C183D7F6-B498-43B3-948B-1728B52AA6E4}">
                <adec:decorative xmlns:adec="http://schemas.microsoft.com/office/drawing/2017/decorative" val="1"/>
              </a:ext>
            </a:extLst>
          </p:cNvPr>
          <p:cNvSpPr/>
          <p:nvPr userDrawn="1"/>
        </p:nvSpPr>
        <p:spPr bwMode="auto">
          <a:xfrm>
            <a:off x="0" y="0"/>
            <a:ext cx="12296319" cy="6858000"/>
          </a:xfrm>
          <a:prstGeom prst="rect">
            <a:avLst/>
          </a:prstGeom>
          <a:gradFill flip="none" rotWithShape="1">
            <a:gsLst>
              <a:gs pos="26000">
                <a:schemeClr val="tx1">
                  <a:alpha val="0"/>
                </a:schemeClr>
              </a:gs>
              <a:gs pos="61000">
                <a:schemeClr val="tx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data empowerment">
            <a:extLst>
              <a:ext uri="{FF2B5EF4-FFF2-40B4-BE49-F238E27FC236}">
                <a16:creationId xmlns:a16="http://schemas.microsoft.com/office/drawing/2014/main" id="{9F97CE30-8F31-4036-8127-0CC72D41450F}"/>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20" name="Rectangle 37">
              <a:extLst>
                <a:ext uri="{FF2B5EF4-FFF2-40B4-BE49-F238E27FC236}">
                  <a16:creationId xmlns:a16="http://schemas.microsoft.com/office/drawing/2014/main" id="{8AE98C98-D533-4A5E-84A3-8F7E558140B2}"/>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38">
              <a:extLst>
                <a:ext uri="{FF2B5EF4-FFF2-40B4-BE49-F238E27FC236}">
                  <a16:creationId xmlns:a16="http://schemas.microsoft.com/office/drawing/2014/main" id="{6C6FDF4F-0D97-449E-AC76-06082FA42AC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9">
              <a:extLst>
                <a:ext uri="{FF2B5EF4-FFF2-40B4-BE49-F238E27FC236}">
                  <a16:creationId xmlns:a16="http://schemas.microsoft.com/office/drawing/2014/main" id="{6FBE45FC-EFEA-4B67-B08C-552C3BD237DE}"/>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40">
              <a:extLst>
                <a:ext uri="{FF2B5EF4-FFF2-40B4-BE49-F238E27FC236}">
                  <a16:creationId xmlns:a16="http://schemas.microsoft.com/office/drawing/2014/main" id="{525499EA-F8F2-4E32-A4AF-E19C2283222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41">
              <a:extLst>
                <a:ext uri="{FF2B5EF4-FFF2-40B4-BE49-F238E27FC236}">
                  <a16:creationId xmlns:a16="http://schemas.microsoft.com/office/drawing/2014/main" id="{FC6EA17E-8A59-4A8F-85B0-B550F0CFB385}"/>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Oval 42">
              <a:extLst>
                <a:ext uri="{FF2B5EF4-FFF2-40B4-BE49-F238E27FC236}">
                  <a16:creationId xmlns:a16="http://schemas.microsoft.com/office/drawing/2014/main" id="{A717B326-B032-4B3D-9DF9-4316C48A39AB}"/>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983901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50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0-#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2/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9595237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59F3B-5A4B-444A-BF01-0873C210BF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C220416-4F28-4843-83CE-41FF90076E5A}"/>
              </a:ext>
            </a:extLst>
          </p:cNvPr>
          <p:cNvSpPr>
            <a:spLocks noGrp="1"/>
          </p:cNvSpPr>
          <p:nvPr>
            <p:ph sz="quarter" idx="10"/>
          </p:nvPr>
        </p:nvSpPr>
        <p:spPr>
          <a:xfrm>
            <a:off x="889000" y="2044700"/>
            <a:ext cx="3467100" cy="353045"/>
          </a:xfrm>
        </p:spPr>
        <p:txBody>
          <a:bodyPr/>
          <a:lstStyle/>
          <a:p>
            <a:pPr lvl="0"/>
            <a:r>
              <a:rPr lang="en-US"/>
              <a:t>Click to edit</a:t>
            </a:r>
          </a:p>
        </p:txBody>
      </p:sp>
      <p:sp>
        <p:nvSpPr>
          <p:cNvPr id="5" name="Rectangle 4">
            <a:extLst>
              <a:ext uri="{FF2B5EF4-FFF2-40B4-BE49-F238E27FC236}">
                <a16:creationId xmlns:a16="http://schemas.microsoft.com/office/drawing/2014/main" id="{FFA86ADF-912D-4DEA-9425-5F27F1B78D04}"/>
              </a:ext>
              <a:ext uri="{C183D7F6-B498-43B3-948B-1728B52AA6E4}">
                <adec:decorative xmlns:adec="http://schemas.microsoft.com/office/drawing/2017/decorative" val="1"/>
              </a:ext>
            </a:extLst>
          </p:cNvPr>
          <p:cNvSpPr/>
          <p:nvPr userDrawn="1"/>
        </p:nvSpPr>
        <p:spPr bwMode="auto">
          <a:xfrm>
            <a:off x="5607474" y="1628070"/>
            <a:ext cx="5971910" cy="4564385"/>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01207943-68ED-4272-A32C-1C1BC058CBE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303A4BA5-3767-4A3F-8245-165168BB7E7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1A21341D-4A5B-4A43-88B0-BFE3E51E786B}"/>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971EFA9D-BCC3-4995-B6DC-8775F935426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8163162F-FAD9-4498-9609-66756228E168}"/>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40099C21-3B58-40B1-9B91-B274CD895CC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2DE0EEE8-F9F5-4268-BEF9-31C3A0ABC99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8355678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E82BA-E51B-4A87-94CF-9E5D7A0D13E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CEF10E1-25DC-4C43-AED3-3ADE816AB126}"/>
              </a:ext>
            </a:extLst>
          </p:cNvPr>
          <p:cNvSpPr>
            <a:spLocks noGrp="1"/>
          </p:cNvSpPr>
          <p:nvPr>
            <p:ph sz="quarter" idx="10"/>
          </p:nvPr>
        </p:nvSpPr>
        <p:spPr>
          <a:xfrm>
            <a:off x="719138" y="1530350"/>
            <a:ext cx="1798637" cy="353045"/>
          </a:xfrm>
        </p:spPr>
        <p:txBody>
          <a:bodyPr/>
          <a:lstStyle/>
          <a:p>
            <a:pPr lvl="0"/>
            <a:r>
              <a:rPr lang="en-US"/>
              <a:t>Click to</a:t>
            </a:r>
          </a:p>
        </p:txBody>
      </p:sp>
      <p:sp>
        <p:nvSpPr>
          <p:cNvPr id="6" name="Content Placeholder 5">
            <a:extLst>
              <a:ext uri="{FF2B5EF4-FFF2-40B4-BE49-F238E27FC236}">
                <a16:creationId xmlns:a16="http://schemas.microsoft.com/office/drawing/2014/main" id="{E0235065-E451-4C19-9EE4-E8DE606768E7}"/>
              </a:ext>
            </a:extLst>
          </p:cNvPr>
          <p:cNvSpPr>
            <a:spLocks noGrp="1"/>
          </p:cNvSpPr>
          <p:nvPr>
            <p:ph sz="quarter" idx="11"/>
          </p:nvPr>
        </p:nvSpPr>
        <p:spPr>
          <a:xfrm>
            <a:off x="719138" y="2147888"/>
            <a:ext cx="1798637" cy="353045"/>
          </a:xfrm>
        </p:spPr>
        <p:txBody>
          <a:bodyPr/>
          <a:lstStyle/>
          <a:p>
            <a:pPr lvl="0"/>
            <a:r>
              <a:rPr lang="en-US"/>
              <a:t>Click to</a:t>
            </a:r>
          </a:p>
        </p:txBody>
      </p:sp>
      <p:sp>
        <p:nvSpPr>
          <p:cNvPr id="8" name="Content Placeholder 7">
            <a:extLst>
              <a:ext uri="{FF2B5EF4-FFF2-40B4-BE49-F238E27FC236}">
                <a16:creationId xmlns:a16="http://schemas.microsoft.com/office/drawing/2014/main" id="{A6879ADA-9441-489D-87B5-6594F7BE4096}"/>
              </a:ext>
            </a:extLst>
          </p:cNvPr>
          <p:cNvSpPr>
            <a:spLocks noGrp="1"/>
          </p:cNvSpPr>
          <p:nvPr>
            <p:ph sz="quarter" idx="12"/>
          </p:nvPr>
        </p:nvSpPr>
        <p:spPr>
          <a:xfrm>
            <a:off x="719138" y="2794000"/>
            <a:ext cx="1798637" cy="353045"/>
          </a:xfrm>
        </p:spPr>
        <p:txBody>
          <a:bodyPr/>
          <a:lstStyle/>
          <a:p>
            <a:pPr lvl="0"/>
            <a:r>
              <a:rPr lang="en-US"/>
              <a:t>Click to</a:t>
            </a:r>
          </a:p>
        </p:txBody>
      </p:sp>
      <p:sp>
        <p:nvSpPr>
          <p:cNvPr id="10" name="Content Placeholder 9">
            <a:extLst>
              <a:ext uri="{FF2B5EF4-FFF2-40B4-BE49-F238E27FC236}">
                <a16:creationId xmlns:a16="http://schemas.microsoft.com/office/drawing/2014/main" id="{DC6B30D0-FB5C-428E-A569-8D003EFF0CD1}"/>
              </a:ext>
            </a:extLst>
          </p:cNvPr>
          <p:cNvSpPr>
            <a:spLocks noGrp="1"/>
          </p:cNvSpPr>
          <p:nvPr>
            <p:ph sz="quarter" idx="13"/>
          </p:nvPr>
        </p:nvSpPr>
        <p:spPr>
          <a:xfrm>
            <a:off x="627063" y="3429000"/>
            <a:ext cx="1890712"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0DE6857-9791-40EC-9175-8D2F423EA6C5}"/>
              </a:ext>
            </a:extLst>
          </p:cNvPr>
          <p:cNvSpPr>
            <a:spLocks noGrp="1"/>
          </p:cNvSpPr>
          <p:nvPr>
            <p:ph sz="quarter" idx="14"/>
          </p:nvPr>
        </p:nvSpPr>
        <p:spPr>
          <a:xfrm>
            <a:off x="719138" y="4048125"/>
            <a:ext cx="189071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A1EBDF7F-56DA-4D94-A42B-06586760034B}"/>
              </a:ext>
            </a:extLst>
          </p:cNvPr>
          <p:cNvSpPr>
            <a:spLocks noGrp="1"/>
          </p:cNvSpPr>
          <p:nvPr>
            <p:ph sz="quarter" idx="15"/>
          </p:nvPr>
        </p:nvSpPr>
        <p:spPr>
          <a:xfrm>
            <a:off x="2979738" y="1530350"/>
            <a:ext cx="1520825" cy="352425"/>
          </a:xfrm>
        </p:spPr>
        <p:txBody>
          <a:bodyPr/>
          <a:lstStyle/>
          <a:p>
            <a:pPr lvl="0"/>
            <a:r>
              <a:rPr lang="en-US"/>
              <a:t>Click to</a:t>
            </a:r>
          </a:p>
        </p:txBody>
      </p:sp>
      <p:sp>
        <p:nvSpPr>
          <p:cNvPr id="16" name="Content Placeholder 15">
            <a:extLst>
              <a:ext uri="{FF2B5EF4-FFF2-40B4-BE49-F238E27FC236}">
                <a16:creationId xmlns:a16="http://schemas.microsoft.com/office/drawing/2014/main" id="{5059BD4C-2115-47E2-BFB5-2F2963FF3A3D}"/>
              </a:ext>
            </a:extLst>
          </p:cNvPr>
          <p:cNvSpPr>
            <a:spLocks noGrp="1"/>
          </p:cNvSpPr>
          <p:nvPr>
            <p:ph sz="quarter" idx="16"/>
          </p:nvPr>
        </p:nvSpPr>
        <p:spPr>
          <a:xfrm>
            <a:off x="2979738" y="2147888"/>
            <a:ext cx="1520825" cy="352425"/>
          </a:xfrm>
        </p:spPr>
        <p:txBody>
          <a:bodyPr/>
          <a:lstStyle/>
          <a:p>
            <a:pPr lvl="0"/>
            <a:r>
              <a:rPr lang="en-US"/>
              <a:t>Click to</a:t>
            </a:r>
          </a:p>
        </p:txBody>
      </p:sp>
      <p:sp>
        <p:nvSpPr>
          <p:cNvPr id="18" name="Content Placeholder 17">
            <a:extLst>
              <a:ext uri="{FF2B5EF4-FFF2-40B4-BE49-F238E27FC236}">
                <a16:creationId xmlns:a16="http://schemas.microsoft.com/office/drawing/2014/main" id="{C1E2F537-32CD-441D-BD7D-0EF853442442}"/>
              </a:ext>
            </a:extLst>
          </p:cNvPr>
          <p:cNvSpPr>
            <a:spLocks noGrp="1"/>
          </p:cNvSpPr>
          <p:nvPr>
            <p:ph sz="quarter" idx="17"/>
          </p:nvPr>
        </p:nvSpPr>
        <p:spPr>
          <a:xfrm>
            <a:off x="2979738" y="2794000"/>
            <a:ext cx="1520825" cy="352425"/>
          </a:xfrm>
        </p:spPr>
        <p:txBody>
          <a:bodyPr/>
          <a:lstStyle/>
          <a:p>
            <a:pPr lvl="0"/>
            <a:r>
              <a:rPr lang="en-US"/>
              <a:t>Click to</a:t>
            </a:r>
          </a:p>
        </p:txBody>
      </p:sp>
      <p:sp>
        <p:nvSpPr>
          <p:cNvPr id="20" name="Content Placeholder 19">
            <a:extLst>
              <a:ext uri="{FF2B5EF4-FFF2-40B4-BE49-F238E27FC236}">
                <a16:creationId xmlns:a16="http://schemas.microsoft.com/office/drawing/2014/main" id="{867DB902-1EFA-40C1-92C4-7CFCFD2F26E0}"/>
              </a:ext>
            </a:extLst>
          </p:cNvPr>
          <p:cNvSpPr>
            <a:spLocks noGrp="1"/>
          </p:cNvSpPr>
          <p:nvPr>
            <p:ph sz="quarter" idx="18"/>
          </p:nvPr>
        </p:nvSpPr>
        <p:spPr>
          <a:xfrm>
            <a:off x="2979738" y="3429000"/>
            <a:ext cx="1520825" cy="352425"/>
          </a:xfrm>
        </p:spPr>
        <p:txBody>
          <a:bodyPr/>
          <a:lstStyle/>
          <a:p>
            <a:pPr lvl="0"/>
            <a:r>
              <a:rPr lang="en-US"/>
              <a:t>Click to</a:t>
            </a:r>
          </a:p>
        </p:txBody>
      </p:sp>
      <p:sp>
        <p:nvSpPr>
          <p:cNvPr id="22" name="Content Placeholder 21">
            <a:extLst>
              <a:ext uri="{FF2B5EF4-FFF2-40B4-BE49-F238E27FC236}">
                <a16:creationId xmlns:a16="http://schemas.microsoft.com/office/drawing/2014/main" id="{6F6F3020-2882-4A12-86DC-F929B1B5635C}"/>
              </a:ext>
            </a:extLst>
          </p:cNvPr>
          <p:cNvSpPr>
            <a:spLocks noGrp="1"/>
          </p:cNvSpPr>
          <p:nvPr>
            <p:ph sz="quarter" idx="19"/>
          </p:nvPr>
        </p:nvSpPr>
        <p:spPr>
          <a:xfrm>
            <a:off x="3163888" y="4048125"/>
            <a:ext cx="1695450" cy="353045"/>
          </a:xfrm>
        </p:spPr>
        <p:txBody>
          <a:bodyPr/>
          <a:lstStyle/>
          <a:p>
            <a:pPr lvl="0"/>
            <a:r>
              <a:rPr lang="en-US"/>
              <a:t>Click to</a:t>
            </a:r>
          </a:p>
        </p:txBody>
      </p:sp>
      <p:sp>
        <p:nvSpPr>
          <p:cNvPr id="24" name="Content Placeholder 23">
            <a:extLst>
              <a:ext uri="{FF2B5EF4-FFF2-40B4-BE49-F238E27FC236}">
                <a16:creationId xmlns:a16="http://schemas.microsoft.com/office/drawing/2014/main" id="{1886FD18-D5F3-4F39-95F1-6E7944AB18E2}"/>
              </a:ext>
            </a:extLst>
          </p:cNvPr>
          <p:cNvSpPr>
            <a:spLocks noGrp="1"/>
          </p:cNvSpPr>
          <p:nvPr>
            <p:ph sz="quarter" idx="20"/>
          </p:nvPr>
        </p:nvSpPr>
        <p:spPr>
          <a:xfrm>
            <a:off x="5589588" y="1530350"/>
            <a:ext cx="1798637" cy="353045"/>
          </a:xfrm>
        </p:spPr>
        <p:txBody>
          <a:bodyPr/>
          <a:lstStyle/>
          <a:p>
            <a:pPr lvl="0"/>
            <a:r>
              <a:rPr lang="en-US"/>
              <a:t>Click to</a:t>
            </a:r>
          </a:p>
        </p:txBody>
      </p:sp>
      <p:pic>
        <p:nvPicPr>
          <p:cNvPr id="15" name="Picture 14">
            <a:extLst>
              <a:ext uri="{FF2B5EF4-FFF2-40B4-BE49-F238E27FC236}">
                <a16:creationId xmlns:a16="http://schemas.microsoft.com/office/drawing/2014/main" id="{E23258C7-BF89-448E-8DDA-8CDE5C27AC7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17" name="Rectangle 16">
            <a:extLst>
              <a:ext uri="{FF2B5EF4-FFF2-40B4-BE49-F238E27FC236}">
                <a16:creationId xmlns:a16="http://schemas.microsoft.com/office/drawing/2014/main" id="{4150A3C1-827A-40D9-AA7B-70736B8253CB}"/>
              </a:ext>
              <a:ext uri="{C183D7F6-B498-43B3-948B-1728B52AA6E4}">
                <adec:decorative xmlns:adec="http://schemas.microsoft.com/office/drawing/2017/decorative" val="1"/>
              </a:ext>
            </a:extLst>
          </p:cNvPr>
          <p:cNvSpPr/>
          <p:nvPr userDrawn="1"/>
        </p:nvSpPr>
        <p:spPr bwMode="auto">
          <a:xfrm>
            <a:off x="-65682" y="241117"/>
            <a:ext cx="12257681" cy="6636445"/>
          </a:xfrm>
          <a:prstGeom prst="rect">
            <a:avLst/>
          </a:prstGeom>
          <a:gradFill flip="none" rotWithShape="1">
            <a:gsLst>
              <a:gs pos="45000">
                <a:srgbClr val="000000"/>
              </a:gs>
              <a:gs pos="8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658637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FE60C-AA26-45BF-8EB4-B55977BFCA4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9136828-4039-423D-ADC0-31B88FDF181F}"/>
              </a:ext>
            </a:extLst>
          </p:cNvPr>
          <p:cNvSpPr>
            <a:spLocks noGrp="1"/>
          </p:cNvSpPr>
          <p:nvPr>
            <p:ph sz="quarter" idx="10"/>
          </p:nvPr>
        </p:nvSpPr>
        <p:spPr>
          <a:xfrm>
            <a:off x="914400" y="1808163"/>
            <a:ext cx="3421063" cy="353045"/>
          </a:xfrm>
        </p:spPr>
        <p:txBody>
          <a:bodyPr/>
          <a:lstStyle/>
          <a:p>
            <a:pPr lvl="0"/>
            <a:r>
              <a:rPr lang="en-US"/>
              <a:t>Click to edit</a:t>
            </a:r>
          </a:p>
        </p:txBody>
      </p:sp>
      <p:pic>
        <p:nvPicPr>
          <p:cNvPr id="5" name="Picture 4">
            <a:extLst>
              <a:ext uri="{FF2B5EF4-FFF2-40B4-BE49-F238E27FC236}">
                <a16:creationId xmlns:a16="http://schemas.microsoft.com/office/drawing/2014/main" id="{804A3B1F-61EC-47A6-95A3-3E16DCCD6E00}"/>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6" name="Rectangle 5">
            <a:extLst>
              <a:ext uri="{FF2B5EF4-FFF2-40B4-BE49-F238E27FC236}">
                <a16:creationId xmlns:a16="http://schemas.microsoft.com/office/drawing/2014/main" id="{4EE85D75-3ED8-4F06-896A-A121E44951AC}"/>
              </a:ext>
              <a:ext uri="{C183D7F6-B498-43B3-948B-1728B52AA6E4}">
                <adec:decorative xmlns:adec="http://schemas.microsoft.com/office/drawing/2017/decorative" val="1"/>
              </a:ext>
            </a:extLst>
          </p:cNvPr>
          <p:cNvSpPr/>
          <p:nvPr userDrawn="1"/>
        </p:nvSpPr>
        <p:spPr bwMode="auto">
          <a:xfrm>
            <a:off x="-65682" y="0"/>
            <a:ext cx="12280214"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30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02D35-39C4-421E-9E35-5EAD47D9C4E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97C6606-20B0-4A9A-A0C9-3596AD3B97CB}"/>
              </a:ext>
            </a:extLst>
          </p:cNvPr>
          <p:cNvSpPr>
            <a:spLocks noGrp="1"/>
          </p:cNvSpPr>
          <p:nvPr>
            <p:ph sz="quarter" idx="10"/>
          </p:nvPr>
        </p:nvSpPr>
        <p:spPr>
          <a:xfrm>
            <a:off x="1736725" y="2116138"/>
            <a:ext cx="2752725" cy="353045"/>
          </a:xfrm>
        </p:spPr>
        <p:txBody>
          <a:bodyPr/>
          <a:lstStyle/>
          <a:p>
            <a:pPr lvl="0"/>
            <a:r>
              <a:rPr lang="en-US"/>
              <a:t>Click to</a:t>
            </a:r>
          </a:p>
        </p:txBody>
      </p:sp>
      <p:sp>
        <p:nvSpPr>
          <p:cNvPr id="5" name="Rectangle 4">
            <a:extLst>
              <a:ext uri="{FF2B5EF4-FFF2-40B4-BE49-F238E27FC236}">
                <a16:creationId xmlns:a16="http://schemas.microsoft.com/office/drawing/2014/main" id="{67260AF1-9DB6-4F1F-BAC6-00EF24FEC78F}"/>
              </a:ext>
              <a:ext uri="{C183D7F6-B498-43B3-948B-1728B52AA6E4}">
                <adec:decorative xmlns:adec="http://schemas.microsoft.com/office/drawing/2017/decorative" val="1"/>
              </a:ext>
            </a:extLst>
          </p:cNvPr>
          <p:cNvSpPr/>
          <p:nvPr userDrawn="1"/>
        </p:nvSpPr>
        <p:spPr bwMode="auto">
          <a:xfrm>
            <a:off x="4779790" y="1241964"/>
            <a:ext cx="6958562" cy="4615212"/>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91391637-D757-456F-ADFE-AC2D8DA831DC}"/>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7D2765BE-DFA6-4F01-B52F-B12CDFB6133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F54ADF79-DA74-4526-9575-C1E954C05C88}"/>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4686F830-7243-4A07-B1FB-255C0C22916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47983914-842E-476C-8427-356F8E22147B}"/>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BFE2690B-E671-4B3F-A24F-2A79AF5C6E7C}"/>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E4D97D3B-4433-4810-B302-7384CDCB47E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249974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C85FD-CC58-4846-9D5B-E9DB9ADB33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C1507D4-357E-48CF-AB5F-D80B744BA59A}"/>
              </a:ext>
            </a:extLst>
          </p:cNvPr>
          <p:cNvSpPr>
            <a:spLocks noGrp="1"/>
          </p:cNvSpPr>
          <p:nvPr>
            <p:ph sz="quarter" idx="10"/>
          </p:nvPr>
        </p:nvSpPr>
        <p:spPr>
          <a:xfrm>
            <a:off x="427038" y="1695450"/>
            <a:ext cx="2789237"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145A5707-E3E6-4414-A3F8-63F63652ECC4}"/>
              </a:ext>
            </a:extLst>
          </p:cNvPr>
          <p:cNvSpPr>
            <a:spLocks noGrp="1"/>
          </p:cNvSpPr>
          <p:nvPr>
            <p:ph sz="quarter" idx="11"/>
          </p:nvPr>
        </p:nvSpPr>
        <p:spPr>
          <a:xfrm>
            <a:off x="503238" y="2393950"/>
            <a:ext cx="2713037" cy="353045"/>
          </a:xfrm>
        </p:spPr>
        <p:txBody>
          <a:bodyPr/>
          <a:lstStyle/>
          <a:p>
            <a:pPr lvl="0"/>
            <a:r>
              <a:rPr lang="en-US"/>
              <a:t>Click to</a:t>
            </a:r>
          </a:p>
        </p:txBody>
      </p:sp>
      <p:sp>
        <p:nvSpPr>
          <p:cNvPr id="8" name="Content Placeholder 7">
            <a:extLst>
              <a:ext uri="{FF2B5EF4-FFF2-40B4-BE49-F238E27FC236}">
                <a16:creationId xmlns:a16="http://schemas.microsoft.com/office/drawing/2014/main" id="{A5C76C57-7A43-4D48-959F-5DC7A4E73E66}"/>
              </a:ext>
            </a:extLst>
          </p:cNvPr>
          <p:cNvSpPr>
            <a:spLocks noGrp="1"/>
          </p:cNvSpPr>
          <p:nvPr>
            <p:ph sz="quarter" idx="12"/>
          </p:nvPr>
        </p:nvSpPr>
        <p:spPr>
          <a:xfrm>
            <a:off x="503238" y="3133725"/>
            <a:ext cx="2538412" cy="353045"/>
          </a:xfrm>
        </p:spPr>
        <p:txBody>
          <a:bodyPr/>
          <a:lstStyle/>
          <a:p>
            <a:pPr lvl="0"/>
            <a:r>
              <a:rPr lang="en-US"/>
              <a:t>Click to</a:t>
            </a:r>
          </a:p>
        </p:txBody>
      </p:sp>
    </p:spTree>
    <p:extLst>
      <p:ext uri="{BB962C8B-B14F-4D97-AF65-F5344CB8AC3E}">
        <p14:creationId xmlns:p14="http://schemas.microsoft.com/office/powerpoint/2010/main" val="16586586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A2B1F-8D31-4542-864E-3D2158C0FDD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7EC2AF3-AC34-4221-A5CD-4F36C1A441F7}"/>
              </a:ext>
            </a:extLst>
          </p:cNvPr>
          <p:cNvSpPr>
            <a:spLocks noGrp="1"/>
          </p:cNvSpPr>
          <p:nvPr>
            <p:ph sz="quarter" idx="10"/>
          </p:nvPr>
        </p:nvSpPr>
        <p:spPr>
          <a:xfrm>
            <a:off x="571500" y="1358900"/>
            <a:ext cx="1765300" cy="353045"/>
          </a:xfrm>
        </p:spPr>
        <p:txBody>
          <a:bodyPr/>
          <a:lstStyle/>
          <a:p>
            <a:pPr lvl="0"/>
            <a:r>
              <a:rPr lang="en-US"/>
              <a:t>Click to</a:t>
            </a:r>
          </a:p>
        </p:txBody>
      </p:sp>
      <p:sp>
        <p:nvSpPr>
          <p:cNvPr id="6" name="Content Placeholder 5">
            <a:extLst>
              <a:ext uri="{FF2B5EF4-FFF2-40B4-BE49-F238E27FC236}">
                <a16:creationId xmlns:a16="http://schemas.microsoft.com/office/drawing/2014/main" id="{BAB00241-5C0F-4D3D-870F-3AF47F1C9B4E}"/>
              </a:ext>
            </a:extLst>
          </p:cNvPr>
          <p:cNvSpPr>
            <a:spLocks noGrp="1"/>
          </p:cNvSpPr>
          <p:nvPr>
            <p:ph sz="quarter" idx="11"/>
          </p:nvPr>
        </p:nvSpPr>
        <p:spPr>
          <a:xfrm>
            <a:off x="571500" y="1930400"/>
            <a:ext cx="1536700" cy="352425"/>
          </a:xfrm>
        </p:spPr>
        <p:txBody>
          <a:bodyPr/>
          <a:lstStyle/>
          <a:p>
            <a:pPr lvl="0"/>
            <a:r>
              <a:rPr lang="en-US"/>
              <a:t>Click</a:t>
            </a:r>
          </a:p>
        </p:txBody>
      </p:sp>
      <p:sp>
        <p:nvSpPr>
          <p:cNvPr id="8" name="Content Placeholder 7">
            <a:extLst>
              <a:ext uri="{FF2B5EF4-FFF2-40B4-BE49-F238E27FC236}">
                <a16:creationId xmlns:a16="http://schemas.microsoft.com/office/drawing/2014/main" id="{FDCF301A-30E7-4771-9F71-345CFED37E32}"/>
              </a:ext>
            </a:extLst>
          </p:cNvPr>
          <p:cNvSpPr>
            <a:spLocks noGrp="1"/>
          </p:cNvSpPr>
          <p:nvPr>
            <p:ph sz="quarter" idx="12"/>
          </p:nvPr>
        </p:nvSpPr>
        <p:spPr>
          <a:xfrm>
            <a:off x="571500" y="26162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316F93C5-7AB8-47E1-AE08-36D8B3AB32C3}"/>
              </a:ext>
            </a:extLst>
          </p:cNvPr>
          <p:cNvSpPr>
            <a:spLocks noGrp="1"/>
          </p:cNvSpPr>
          <p:nvPr>
            <p:ph sz="quarter" idx="13"/>
          </p:nvPr>
        </p:nvSpPr>
        <p:spPr>
          <a:xfrm>
            <a:off x="571500" y="3340100"/>
            <a:ext cx="18796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CFC2CEC3-9292-43A2-B47E-763C6DD00903}"/>
              </a:ext>
            </a:extLst>
          </p:cNvPr>
          <p:cNvSpPr>
            <a:spLocks noGrp="1"/>
          </p:cNvSpPr>
          <p:nvPr>
            <p:ph sz="quarter" idx="14" hasCustomPrompt="1"/>
          </p:nvPr>
        </p:nvSpPr>
        <p:spPr>
          <a:xfrm>
            <a:off x="571500" y="4114800"/>
            <a:ext cx="1765300" cy="353045"/>
          </a:xfrm>
        </p:spPr>
        <p:txBody>
          <a:bodyPr/>
          <a:lstStyle/>
          <a:p>
            <a:pPr lvl="0"/>
            <a:r>
              <a:rPr lang="en-US"/>
              <a:t>Click to </a:t>
            </a:r>
            <a:r>
              <a:rPr lang="en-US" err="1"/>
              <a:t>el</a:t>
            </a:r>
            <a:endParaRPr lang="en-US"/>
          </a:p>
        </p:txBody>
      </p:sp>
      <p:sp>
        <p:nvSpPr>
          <p:cNvPr id="14" name="Content Placeholder 13">
            <a:extLst>
              <a:ext uri="{FF2B5EF4-FFF2-40B4-BE49-F238E27FC236}">
                <a16:creationId xmlns:a16="http://schemas.microsoft.com/office/drawing/2014/main" id="{EC172137-46F7-42FB-A0B2-2C341EBBE921}"/>
              </a:ext>
            </a:extLst>
          </p:cNvPr>
          <p:cNvSpPr>
            <a:spLocks noGrp="1"/>
          </p:cNvSpPr>
          <p:nvPr>
            <p:ph sz="quarter" idx="15"/>
          </p:nvPr>
        </p:nvSpPr>
        <p:spPr>
          <a:xfrm>
            <a:off x="3187700" y="1358900"/>
            <a:ext cx="1511300" cy="352425"/>
          </a:xfrm>
        </p:spPr>
        <p:txBody>
          <a:bodyPr/>
          <a:lstStyle/>
          <a:p>
            <a:pPr lvl="0"/>
            <a:r>
              <a:rPr lang="en-US"/>
              <a:t>Click</a:t>
            </a:r>
          </a:p>
        </p:txBody>
      </p:sp>
      <p:sp>
        <p:nvSpPr>
          <p:cNvPr id="16" name="Content Placeholder 15">
            <a:extLst>
              <a:ext uri="{FF2B5EF4-FFF2-40B4-BE49-F238E27FC236}">
                <a16:creationId xmlns:a16="http://schemas.microsoft.com/office/drawing/2014/main" id="{9F933107-8BE8-43FD-950F-551565B03210}"/>
              </a:ext>
            </a:extLst>
          </p:cNvPr>
          <p:cNvSpPr>
            <a:spLocks noGrp="1"/>
          </p:cNvSpPr>
          <p:nvPr>
            <p:ph sz="quarter" idx="16"/>
          </p:nvPr>
        </p:nvSpPr>
        <p:spPr>
          <a:xfrm>
            <a:off x="3187700" y="1930400"/>
            <a:ext cx="17653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F18FB0A5-B09C-46D5-B07C-A99EA762F442}"/>
              </a:ext>
            </a:extLst>
          </p:cNvPr>
          <p:cNvSpPr>
            <a:spLocks noGrp="1"/>
          </p:cNvSpPr>
          <p:nvPr>
            <p:ph sz="quarter" idx="17"/>
          </p:nvPr>
        </p:nvSpPr>
        <p:spPr>
          <a:xfrm>
            <a:off x="3187700" y="2616200"/>
            <a:ext cx="17653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1DC5E4F-E478-43A9-B72D-6A93CEAEDDE5}"/>
              </a:ext>
            </a:extLst>
          </p:cNvPr>
          <p:cNvSpPr>
            <a:spLocks noGrp="1"/>
          </p:cNvSpPr>
          <p:nvPr>
            <p:ph sz="quarter" idx="18"/>
          </p:nvPr>
        </p:nvSpPr>
        <p:spPr>
          <a:xfrm>
            <a:off x="3187700" y="3340100"/>
            <a:ext cx="19685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3B8FB1A8-0DC7-486C-A5F9-ED3DA0AA592B}"/>
              </a:ext>
            </a:extLst>
          </p:cNvPr>
          <p:cNvSpPr>
            <a:spLocks noGrp="1"/>
          </p:cNvSpPr>
          <p:nvPr>
            <p:ph sz="quarter" idx="19"/>
          </p:nvPr>
        </p:nvSpPr>
        <p:spPr>
          <a:xfrm>
            <a:off x="3187700" y="3962400"/>
            <a:ext cx="1968500" cy="352425"/>
          </a:xfrm>
        </p:spPr>
        <p:txBody>
          <a:bodyPr/>
          <a:lstStyle/>
          <a:p>
            <a:pPr lvl="0"/>
            <a:r>
              <a:rPr lang="en-US"/>
              <a:t>Click to</a:t>
            </a:r>
          </a:p>
        </p:txBody>
      </p:sp>
      <p:sp>
        <p:nvSpPr>
          <p:cNvPr id="24" name="Content Placeholder 23">
            <a:extLst>
              <a:ext uri="{FF2B5EF4-FFF2-40B4-BE49-F238E27FC236}">
                <a16:creationId xmlns:a16="http://schemas.microsoft.com/office/drawing/2014/main" id="{59F4852E-2FA8-40B1-AAA5-226B6E8F0330}"/>
              </a:ext>
            </a:extLst>
          </p:cNvPr>
          <p:cNvSpPr>
            <a:spLocks noGrp="1"/>
          </p:cNvSpPr>
          <p:nvPr>
            <p:ph sz="quarter" idx="20" hasCustomPrompt="1"/>
          </p:nvPr>
        </p:nvSpPr>
        <p:spPr>
          <a:xfrm>
            <a:off x="6375400" y="1447800"/>
            <a:ext cx="1981200" cy="353045"/>
          </a:xfrm>
        </p:spPr>
        <p:txBody>
          <a:bodyPr/>
          <a:lstStyle/>
          <a:p>
            <a:pPr lvl="0"/>
            <a:r>
              <a:rPr lang="en-US"/>
              <a:t>Click to </a:t>
            </a:r>
            <a:r>
              <a:rPr lang="en-US" err="1"/>
              <a:t>el</a:t>
            </a:r>
            <a:endParaRPr lang="en-US"/>
          </a:p>
        </p:txBody>
      </p:sp>
      <p:pic>
        <p:nvPicPr>
          <p:cNvPr id="15" name="Picture Placeholder 9">
            <a:extLst>
              <a:ext uri="{FF2B5EF4-FFF2-40B4-BE49-F238E27FC236}">
                <a16:creationId xmlns:a16="http://schemas.microsoft.com/office/drawing/2014/main" id="{738F21C1-66ED-4A05-B310-9DD69F178ECE}"/>
              </a:ext>
              <a:ext uri="{C183D7F6-B498-43B3-948B-1728B52AA6E4}">
                <adec:decorative xmlns:adec="http://schemas.microsoft.com/office/drawing/2017/decorative" val="1"/>
              </a:ext>
            </a:extLst>
          </p:cNvPr>
          <p:cNvPicPr>
            <a:picLocks noChangeAspect="1"/>
          </p:cNvPicPr>
          <p:nvPr userDrawn="1"/>
        </p:nvPicPr>
        <p:blipFill rotWithShape="1">
          <a:blip r:embed="rId2"/>
          <a:srcRect t="15716" b="451"/>
          <a:stretch/>
        </p:blipFill>
        <p:spPr>
          <a:xfrm>
            <a:off x="0" y="0"/>
            <a:ext cx="12214540" cy="6858000"/>
          </a:xfrm>
          <a:prstGeom prst="rect">
            <a:avLst/>
          </a:prstGeom>
        </p:spPr>
      </p:pic>
      <p:sp>
        <p:nvSpPr>
          <p:cNvPr id="17" name="Rectangle 16">
            <a:extLst>
              <a:ext uri="{FF2B5EF4-FFF2-40B4-BE49-F238E27FC236}">
                <a16:creationId xmlns:a16="http://schemas.microsoft.com/office/drawing/2014/main" id="{DB98B817-AA7B-4B65-8E87-0A663D378D55}"/>
              </a:ext>
              <a:ext uri="{C183D7F6-B498-43B3-948B-1728B52AA6E4}">
                <adec:decorative xmlns:adec="http://schemas.microsoft.com/office/drawing/2017/decorative" val="1"/>
              </a:ext>
            </a:extLst>
          </p:cNvPr>
          <p:cNvSpPr/>
          <p:nvPr userDrawn="1"/>
        </p:nvSpPr>
        <p:spPr bwMode="auto">
          <a:xfrm>
            <a:off x="0" y="-709863"/>
            <a:ext cx="12192000" cy="7567865"/>
          </a:xfrm>
          <a:prstGeom prst="rect">
            <a:avLst/>
          </a:prstGeom>
          <a:gradFill flip="none" rotWithShape="1">
            <a:gsLst>
              <a:gs pos="41000">
                <a:srgbClr val="000000">
                  <a:alpha val="89000"/>
                </a:srgbClr>
              </a:gs>
              <a:gs pos="6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431594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10A6F-C96C-43DE-8CD2-136B4C12F6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62C8356-500B-41FD-8CFD-337BEDD4CBE1}"/>
              </a:ext>
            </a:extLst>
          </p:cNvPr>
          <p:cNvSpPr>
            <a:spLocks noGrp="1"/>
          </p:cNvSpPr>
          <p:nvPr>
            <p:ph sz="quarter" idx="10"/>
          </p:nvPr>
        </p:nvSpPr>
        <p:spPr>
          <a:xfrm>
            <a:off x="1387475" y="1468438"/>
            <a:ext cx="1755775" cy="353045"/>
          </a:xfrm>
        </p:spPr>
        <p:txBody>
          <a:bodyPr/>
          <a:lstStyle/>
          <a:p>
            <a:pPr lvl="0"/>
            <a:r>
              <a:rPr lang="en-US"/>
              <a:t>Click to</a:t>
            </a:r>
          </a:p>
        </p:txBody>
      </p:sp>
      <p:sp>
        <p:nvSpPr>
          <p:cNvPr id="6" name="Content Placeholder 5">
            <a:extLst>
              <a:ext uri="{FF2B5EF4-FFF2-40B4-BE49-F238E27FC236}">
                <a16:creationId xmlns:a16="http://schemas.microsoft.com/office/drawing/2014/main" id="{BE4DA637-F7A4-48FA-8C05-BBE77DF11C9C}"/>
              </a:ext>
            </a:extLst>
          </p:cNvPr>
          <p:cNvSpPr>
            <a:spLocks noGrp="1"/>
          </p:cNvSpPr>
          <p:nvPr>
            <p:ph sz="quarter" idx="11"/>
          </p:nvPr>
        </p:nvSpPr>
        <p:spPr>
          <a:xfrm>
            <a:off x="1387475" y="2095500"/>
            <a:ext cx="1755775" cy="353045"/>
          </a:xfrm>
        </p:spPr>
        <p:txBody>
          <a:bodyPr/>
          <a:lstStyle/>
          <a:p>
            <a:pPr lvl="0"/>
            <a:r>
              <a:rPr lang="en-US"/>
              <a:t>Click to</a:t>
            </a:r>
          </a:p>
        </p:txBody>
      </p:sp>
      <p:pic>
        <p:nvPicPr>
          <p:cNvPr id="8" name="Picture Placeholder 9">
            <a:extLst>
              <a:ext uri="{FF2B5EF4-FFF2-40B4-BE49-F238E27FC236}">
                <a16:creationId xmlns:a16="http://schemas.microsoft.com/office/drawing/2014/main" id="{7B5E131D-B06A-475D-8489-DE439CECC581}"/>
              </a:ext>
              <a:ext uri="{C183D7F6-B498-43B3-948B-1728B52AA6E4}">
                <adec:decorative xmlns:adec="http://schemas.microsoft.com/office/drawing/2017/decorative" val="1"/>
              </a:ext>
            </a:extLst>
          </p:cNvPr>
          <p:cNvPicPr>
            <a:picLocks noChangeAspect="1"/>
          </p:cNvPicPr>
          <p:nvPr userDrawn="1"/>
        </p:nvPicPr>
        <p:blipFill rotWithShape="1">
          <a:blip r:embed="rId2"/>
          <a:srcRect t="7519" b="8648"/>
          <a:stretch/>
        </p:blipFill>
        <p:spPr>
          <a:xfrm>
            <a:off x="0" y="0"/>
            <a:ext cx="12214540" cy="6858000"/>
          </a:xfrm>
          <a:prstGeom prst="rect">
            <a:avLst/>
          </a:prstGeom>
        </p:spPr>
      </p:pic>
      <p:sp>
        <p:nvSpPr>
          <p:cNvPr id="7" name="Rectangle 6">
            <a:extLst>
              <a:ext uri="{FF2B5EF4-FFF2-40B4-BE49-F238E27FC236}">
                <a16:creationId xmlns:a16="http://schemas.microsoft.com/office/drawing/2014/main" id="{3F7115A3-581F-438A-A4C5-E731936E37CB}"/>
              </a:ext>
              <a:ext uri="{C183D7F6-B498-43B3-948B-1728B52AA6E4}">
                <adec:decorative xmlns:adec="http://schemas.microsoft.com/office/drawing/2017/decorative" val="1"/>
              </a:ext>
            </a:extLst>
          </p:cNvPr>
          <p:cNvSpPr/>
          <p:nvPr userDrawn="1"/>
        </p:nvSpPr>
        <p:spPr bwMode="auto">
          <a:xfrm>
            <a:off x="0" y="0"/>
            <a:ext cx="12214532"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4726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98C4-F32A-435E-A951-B4FCB3C80D0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08C6A6-4A5B-482A-A5CF-0B66CC80AECA}"/>
              </a:ext>
            </a:extLst>
          </p:cNvPr>
          <p:cNvSpPr>
            <a:spLocks noGrp="1"/>
          </p:cNvSpPr>
          <p:nvPr>
            <p:ph sz="quarter" idx="10"/>
          </p:nvPr>
        </p:nvSpPr>
        <p:spPr>
          <a:xfrm>
            <a:off x="889000" y="1409700"/>
            <a:ext cx="1511300" cy="353045"/>
          </a:xfrm>
        </p:spPr>
        <p:txBody>
          <a:bodyPr/>
          <a:lstStyle/>
          <a:p>
            <a:pPr lvl="0"/>
            <a:r>
              <a:rPr lang="en-US"/>
              <a:t>Click</a:t>
            </a:r>
          </a:p>
        </p:txBody>
      </p:sp>
      <p:sp>
        <p:nvSpPr>
          <p:cNvPr id="6" name="Content Placeholder 5">
            <a:extLst>
              <a:ext uri="{FF2B5EF4-FFF2-40B4-BE49-F238E27FC236}">
                <a16:creationId xmlns:a16="http://schemas.microsoft.com/office/drawing/2014/main" id="{D33517BC-AD0A-4179-85F3-197B910CFD50}"/>
              </a:ext>
            </a:extLst>
          </p:cNvPr>
          <p:cNvSpPr>
            <a:spLocks noGrp="1"/>
          </p:cNvSpPr>
          <p:nvPr>
            <p:ph sz="quarter" idx="11"/>
          </p:nvPr>
        </p:nvSpPr>
        <p:spPr>
          <a:xfrm>
            <a:off x="889000" y="2108200"/>
            <a:ext cx="1879600" cy="353045"/>
          </a:xfrm>
        </p:spPr>
        <p:txBody>
          <a:bodyPr/>
          <a:lstStyle/>
          <a:p>
            <a:pPr lvl="0"/>
            <a:r>
              <a:rPr lang="en-US"/>
              <a:t>Click to</a:t>
            </a:r>
          </a:p>
        </p:txBody>
      </p:sp>
      <p:sp>
        <p:nvSpPr>
          <p:cNvPr id="8" name="Content Placeholder 7">
            <a:extLst>
              <a:ext uri="{FF2B5EF4-FFF2-40B4-BE49-F238E27FC236}">
                <a16:creationId xmlns:a16="http://schemas.microsoft.com/office/drawing/2014/main" id="{26D81CFC-591D-48DA-A704-129A34F6A33C}"/>
              </a:ext>
            </a:extLst>
          </p:cNvPr>
          <p:cNvSpPr>
            <a:spLocks noGrp="1"/>
          </p:cNvSpPr>
          <p:nvPr>
            <p:ph sz="quarter" idx="12"/>
          </p:nvPr>
        </p:nvSpPr>
        <p:spPr>
          <a:xfrm>
            <a:off x="889000" y="28067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985109DD-56AF-4A60-A09E-8F7B64D3C85E}"/>
              </a:ext>
            </a:extLst>
          </p:cNvPr>
          <p:cNvSpPr>
            <a:spLocks noGrp="1"/>
          </p:cNvSpPr>
          <p:nvPr>
            <p:ph sz="quarter" idx="13"/>
          </p:nvPr>
        </p:nvSpPr>
        <p:spPr>
          <a:xfrm>
            <a:off x="1003300" y="3568700"/>
            <a:ext cx="22987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F302F0EB-5D52-4398-ADEE-1C56AC50C982}"/>
              </a:ext>
            </a:extLst>
          </p:cNvPr>
          <p:cNvSpPr>
            <a:spLocks noGrp="1"/>
          </p:cNvSpPr>
          <p:nvPr>
            <p:ph sz="quarter" idx="14"/>
          </p:nvPr>
        </p:nvSpPr>
        <p:spPr>
          <a:xfrm>
            <a:off x="4572000" y="1320800"/>
            <a:ext cx="2235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6701BFB-CF89-4774-B650-017B6C9F2052}"/>
              </a:ext>
            </a:extLst>
          </p:cNvPr>
          <p:cNvSpPr>
            <a:spLocks noGrp="1"/>
          </p:cNvSpPr>
          <p:nvPr>
            <p:ph sz="quarter" idx="15"/>
          </p:nvPr>
        </p:nvSpPr>
        <p:spPr>
          <a:xfrm>
            <a:off x="4749800" y="1968500"/>
            <a:ext cx="23495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F01A42F3-22F4-4F59-A50D-112BB50E741B}"/>
              </a:ext>
            </a:extLst>
          </p:cNvPr>
          <p:cNvSpPr>
            <a:spLocks noGrp="1"/>
          </p:cNvSpPr>
          <p:nvPr>
            <p:ph sz="quarter" idx="16"/>
          </p:nvPr>
        </p:nvSpPr>
        <p:spPr>
          <a:xfrm>
            <a:off x="4660900" y="2460625"/>
            <a:ext cx="23495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1430F0F4-1975-4A6B-9016-E05C9F51E0A9}"/>
              </a:ext>
            </a:extLst>
          </p:cNvPr>
          <p:cNvSpPr>
            <a:spLocks noGrp="1"/>
          </p:cNvSpPr>
          <p:nvPr>
            <p:ph sz="quarter" idx="17"/>
          </p:nvPr>
        </p:nvSpPr>
        <p:spPr>
          <a:xfrm>
            <a:off x="4749800" y="3159125"/>
            <a:ext cx="2501900" cy="353045"/>
          </a:xfrm>
        </p:spPr>
        <p:txBody>
          <a:bodyPr/>
          <a:lstStyle/>
          <a:p>
            <a:pPr lvl="0"/>
            <a:r>
              <a:rPr lang="en-US"/>
              <a:t>Click to</a:t>
            </a:r>
          </a:p>
        </p:txBody>
      </p:sp>
      <p:sp>
        <p:nvSpPr>
          <p:cNvPr id="19" name="Slide Number Placeholder 1">
            <a:extLst>
              <a:ext uri="{FF2B5EF4-FFF2-40B4-BE49-F238E27FC236}">
                <a16:creationId xmlns:a16="http://schemas.microsoft.com/office/drawing/2014/main" id="{7DED051E-C22C-4513-8B64-529D12DCCDF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EC05D627-0BC5-46DE-B5C2-1F33ACE24B5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B0CA1F7-BF60-477E-AF78-BB741F5A6ABE}"/>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tx1">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protection against unplanned costs">
            <a:extLst>
              <a:ext uri="{FF2B5EF4-FFF2-40B4-BE49-F238E27FC236}">
                <a16:creationId xmlns:a16="http://schemas.microsoft.com/office/drawing/2014/main" id="{008EA1AC-8BFD-4776-AD60-7FB145FDBEB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20" name="AutoShape 69">
              <a:extLst>
                <a:ext uri="{FF2B5EF4-FFF2-40B4-BE49-F238E27FC236}">
                  <a16:creationId xmlns:a16="http://schemas.microsoft.com/office/drawing/2014/main" id="{62F58288-27DD-41F2-A14E-C6FEC84330A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7974B123-7E1A-4F70-8F62-BF96EFD6E43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72">
              <a:extLst>
                <a:ext uri="{FF2B5EF4-FFF2-40B4-BE49-F238E27FC236}">
                  <a16:creationId xmlns:a16="http://schemas.microsoft.com/office/drawing/2014/main" id="{9A54CB4C-1087-4F69-BF06-ACF72E1B5B19}"/>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Oval 73">
              <a:extLst>
                <a:ext uri="{FF2B5EF4-FFF2-40B4-BE49-F238E27FC236}">
                  <a16:creationId xmlns:a16="http://schemas.microsoft.com/office/drawing/2014/main" id="{E4431271-DEE5-4C4E-A002-4EC3A44E3A7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74">
              <a:extLst>
                <a:ext uri="{FF2B5EF4-FFF2-40B4-BE49-F238E27FC236}">
                  <a16:creationId xmlns:a16="http://schemas.microsoft.com/office/drawing/2014/main" id="{614674BB-6930-4CA7-A482-17FFF9BBD56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75">
              <a:extLst>
                <a:ext uri="{FF2B5EF4-FFF2-40B4-BE49-F238E27FC236}">
                  <a16:creationId xmlns:a16="http://schemas.microsoft.com/office/drawing/2014/main" id="{DCD94099-20A3-4892-89E9-C8F273388C0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385013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43C4-6C9F-46FE-A576-7FA3BD75B5D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DF49850-481D-4678-9FBD-CB56665BCF09}"/>
              </a:ext>
            </a:extLst>
          </p:cNvPr>
          <p:cNvSpPr>
            <a:spLocks noGrp="1"/>
          </p:cNvSpPr>
          <p:nvPr>
            <p:ph sz="quarter" idx="10"/>
          </p:nvPr>
        </p:nvSpPr>
        <p:spPr>
          <a:xfrm>
            <a:off x="1335088" y="1798638"/>
            <a:ext cx="3041650" cy="353045"/>
          </a:xfrm>
        </p:spPr>
        <p:txBody>
          <a:bodyPr/>
          <a:lstStyle/>
          <a:p>
            <a:pPr lvl="0"/>
            <a:r>
              <a:rPr lang="en-US"/>
              <a:t>Click to edit</a:t>
            </a:r>
          </a:p>
        </p:txBody>
      </p:sp>
      <p:sp>
        <p:nvSpPr>
          <p:cNvPr id="5" name="Rectangle 4">
            <a:extLst>
              <a:ext uri="{FF2B5EF4-FFF2-40B4-BE49-F238E27FC236}">
                <a16:creationId xmlns:a16="http://schemas.microsoft.com/office/drawing/2014/main" id="{99D44E36-4323-49D2-BF14-F6150E7FBBB8}"/>
              </a:ext>
              <a:ext uri="{C183D7F6-B498-43B3-948B-1728B52AA6E4}">
                <adec:decorative xmlns:adec="http://schemas.microsoft.com/office/drawing/2017/decorative" val="1"/>
              </a:ext>
            </a:extLst>
          </p:cNvPr>
          <p:cNvSpPr/>
          <p:nvPr userDrawn="1"/>
        </p:nvSpPr>
        <p:spPr bwMode="auto">
          <a:xfrm>
            <a:off x="1163339" y="1387402"/>
            <a:ext cx="4432548" cy="4928120"/>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protection against unplanned costs">
            <a:extLst>
              <a:ext uri="{FF2B5EF4-FFF2-40B4-BE49-F238E27FC236}">
                <a16:creationId xmlns:a16="http://schemas.microsoft.com/office/drawing/2014/main" id="{847C8F2D-FA13-4F2A-843E-91A9FC92854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C223C487-962C-4F3A-955F-795DAD5B8284}"/>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815164E2-5D45-4FBD-98B9-6E48EC8722B1}"/>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24051D07-1BF0-4539-BBB7-99295C4CD25A}"/>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CEF34C3F-A06A-4DD6-9434-4396EF63113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A86601BF-55D3-458D-BD8C-41E28AE9D402}"/>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9E80CF90-15D5-4AD3-A5CA-91999EF05EC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7660993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21B2A90-A893-4D83-9B9F-381CE75C9956}"/>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608152"/>
            <a:ext cx="12192000" cy="6858000"/>
          </a:xfrm>
          <a:prstGeom prst="rect">
            <a:avLst/>
          </a:prstGeom>
        </p:spPr>
      </p:pic>
      <p:sp>
        <p:nvSpPr>
          <p:cNvPr id="2" name="Title 1">
            <a:extLst>
              <a:ext uri="{FF2B5EF4-FFF2-40B4-BE49-F238E27FC236}">
                <a16:creationId xmlns:a16="http://schemas.microsoft.com/office/drawing/2014/main" id="{D707AA2F-FCFA-4174-BFD0-6E6C9D30DB3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FAA7BD1-FDAA-49D4-9BB1-5EF43DCBC403}"/>
              </a:ext>
            </a:extLst>
          </p:cNvPr>
          <p:cNvSpPr>
            <a:spLocks noGrp="1"/>
          </p:cNvSpPr>
          <p:nvPr>
            <p:ph sz="quarter" idx="10"/>
          </p:nvPr>
        </p:nvSpPr>
        <p:spPr>
          <a:xfrm>
            <a:off x="711200" y="1485900"/>
            <a:ext cx="2705100" cy="353045"/>
          </a:xfrm>
        </p:spPr>
        <p:txBody>
          <a:bodyPr/>
          <a:lstStyle/>
          <a:p>
            <a:pPr lvl="0"/>
            <a:r>
              <a:rPr lang="en-US"/>
              <a:t>Click to</a:t>
            </a:r>
          </a:p>
        </p:txBody>
      </p:sp>
      <p:sp>
        <p:nvSpPr>
          <p:cNvPr id="6" name="Content Placeholder 5">
            <a:extLst>
              <a:ext uri="{FF2B5EF4-FFF2-40B4-BE49-F238E27FC236}">
                <a16:creationId xmlns:a16="http://schemas.microsoft.com/office/drawing/2014/main" id="{0676F3FB-DE2D-4B2A-876B-213CF5216B10}"/>
              </a:ext>
            </a:extLst>
          </p:cNvPr>
          <p:cNvSpPr>
            <a:spLocks noGrp="1"/>
          </p:cNvSpPr>
          <p:nvPr>
            <p:ph sz="quarter" idx="11"/>
          </p:nvPr>
        </p:nvSpPr>
        <p:spPr>
          <a:xfrm>
            <a:off x="3746500" y="1485900"/>
            <a:ext cx="2044700" cy="353045"/>
          </a:xfrm>
        </p:spPr>
        <p:txBody>
          <a:bodyPr/>
          <a:lstStyle/>
          <a:p>
            <a:pPr lvl="0"/>
            <a:r>
              <a:rPr lang="en-US"/>
              <a:t>Click to</a:t>
            </a:r>
          </a:p>
        </p:txBody>
      </p:sp>
      <p:sp>
        <p:nvSpPr>
          <p:cNvPr id="8" name="Content Placeholder 7">
            <a:extLst>
              <a:ext uri="{FF2B5EF4-FFF2-40B4-BE49-F238E27FC236}">
                <a16:creationId xmlns:a16="http://schemas.microsoft.com/office/drawing/2014/main" id="{40C61850-0FB7-4628-B66A-4CE0ED8FCFE3}"/>
              </a:ext>
            </a:extLst>
          </p:cNvPr>
          <p:cNvSpPr>
            <a:spLocks noGrp="1"/>
          </p:cNvSpPr>
          <p:nvPr>
            <p:ph sz="quarter" idx="12"/>
          </p:nvPr>
        </p:nvSpPr>
        <p:spPr>
          <a:xfrm>
            <a:off x="6235700" y="1485900"/>
            <a:ext cx="1701800" cy="352425"/>
          </a:xfrm>
        </p:spPr>
        <p:txBody>
          <a:bodyPr/>
          <a:lstStyle/>
          <a:p>
            <a:pPr lvl="0"/>
            <a:r>
              <a:rPr lang="en-US"/>
              <a:t>Click to</a:t>
            </a:r>
          </a:p>
        </p:txBody>
      </p:sp>
      <p:sp>
        <p:nvSpPr>
          <p:cNvPr id="10" name="Content Placeholder 9">
            <a:extLst>
              <a:ext uri="{FF2B5EF4-FFF2-40B4-BE49-F238E27FC236}">
                <a16:creationId xmlns:a16="http://schemas.microsoft.com/office/drawing/2014/main" id="{46DF57C9-C771-4015-9686-881E175B5F5B}"/>
              </a:ext>
            </a:extLst>
          </p:cNvPr>
          <p:cNvSpPr>
            <a:spLocks noGrp="1"/>
          </p:cNvSpPr>
          <p:nvPr>
            <p:ph sz="quarter" idx="13"/>
          </p:nvPr>
        </p:nvSpPr>
        <p:spPr>
          <a:xfrm>
            <a:off x="711200" y="2641600"/>
            <a:ext cx="21590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928F7E1C-0D0D-4507-8179-3462F3A86F55}"/>
              </a:ext>
            </a:extLst>
          </p:cNvPr>
          <p:cNvSpPr>
            <a:spLocks noGrp="1"/>
          </p:cNvSpPr>
          <p:nvPr>
            <p:ph sz="quarter" idx="14"/>
          </p:nvPr>
        </p:nvSpPr>
        <p:spPr>
          <a:xfrm>
            <a:off x="3556000" y="2641600"/>
            <a:ext cx="20447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261D032F-E6D5-474C-BD7D-70F0DD8A85FE}"/>
              </a:ext>
            </a:extLst>
          </p:cNvPr>
          <p:cNvSpPr>
            <a:spLocks noGrp="1"/>
          </p:cNvSpPr>
          <p:nvPr>
            <p:ph sz="quarter" idx="15"/>
          </p:nvPr>
        </p:nvSpPr>
        <p:spPr>
          <a:xfrm>
            <a:off x="6235700" y="2641600"/>
            <a:ext cx="20447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17A6FDDF-A0C1-41F2-8AF2-AB8F8EDBE9E3}"/>
              </a:ext>
            </a:extLst>
          </p:cNvPr>
          <p:cNvSpPr>
            <a:spLocks noGrp="1"/>
          </p:cNvSpPr>
          <p:nvPr>
            <p:ph sz="quarter" idx="16"/>
          </p:nvPr>
        </p:nvSpPr>
        <p:spPr>
          <a:xfrm>
            <a:off x="952500" y="3784600"/>
            <a:ext cx="23241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C2BA3C9E-3117-43BF-9757-5777B47EFA89}"/>
              </a:ext>
            </a:extLst>
          </p:cNvPr>
          <p:cNvSpPr>
            <a:spLocks noGrp="1"/>
          </p:cNvSpPr>
          <p:nvPr>
            <p:ph sz="quarter" idx="17"/>
          </p:nvPr>
        </p:nvSpPr>
        <p:spPr>
          <a:xfrm>
            <a:off x="3924300" y="3784600"/>
            <a:ext cx="21717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5CCB231C-4A63-4D00-9A81-4BFEBF410BBB}"/>
              </a:ext>
            </a:extLst>
          </p:cNvPr>
          <p:cNvSpPr>
            <a:spLocks noGrp="1"/>
          </p:cNvSpPr>
          <p:nvPr>
            <p:ph sz="quarter" idx="18"/>
          </p:nvPr>
        </p:nvSpPr>
        <p:spPr>
          <a:xfrm>
            <a:off x="6554788" y="3784600"/>
            <a:ext cx="2171700" cy="352425"/>
          </a:xfrm>
        </p:spPr>
        <p:txBody>
          <a:bodyPr/>
          <a:lstStyle/>
          <a:p>
            <a:pPr lvl="0"/>
            <a:r>
              <a:rPr lang="en-US"/>
              <a:t>Click to</a:t>
            </a:r>
          </a:p>
        </p:txBody>
      </p:sp>
      <p:sp>
        <p:nvSpPr>
          <p:cNvPr id="22" name="Content Placeholder 21">
            <a:extLst>
              <a:ext uri="{FF2B5EF4-FFF2-40B4-BE49-F238E27FC236}">
                <a16:creationId xmlns:a16="http://schemas.microsoft.com/office/drawing/2014/main" id="{63506E4E-FFE2-491C-95DC-2078C5CAE149}"/>
              </a:ext>
            </a:extLst>
          </p:cNvPr>
          <p:cNvSpPr>
            <a:spLocks noGrp="1"/>
          </p:cNvSpPr>
          <p:nvPr>
            <p:ph sz="quarter" idx="19"/>
          </p:nvPr>
        </p:nvSpPr>
        <p:spPr>
          <a:xfrm>
            <a:off x="1104900" y="4533900"/>
            <a:ext cx="23114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B200ED16-B285-43D4-9F71-66F0B699D4ED}"/>
              </a:ext>
            </a:extLst>
          </p:cNvPr>
          <p:cNvSpPr>
            <a:spLocks noGrp="1"/>
          </p:cNvSpPr>
          <p:nvPr>
            <p:ph sz="quarter" idx="20"/>
          </p:nvPr>
        </p:nvSpPr>
        <p:spPr>
          <a:xfrm>
            <a:off x="4267200" y="4533900"/>
            <a:ext cx="2070100" cy="353045"/>
          </a:xfrm>
        </p:spPr>
        <p:txBody>
          <a:bodyPr/>
          <a:lstStyle/>
          <a:p>
            <a:pPr lvl="0"/>
            <a:r>
              <a:rPr lang="en-US"/>
              <a:t>Click to</a:t>
            </a:r>
          </a:p>
        </p:txBody>
      </p:sp>
      <p:grpSp>
        <p:nvGrpSpPr>
          <p:cNvPr id="17" name="protection against unplanned costs">
            <a:extLst>
              <a:ext uri="{FF2B5EF4-FFF2-40B4-BE49-F238E27FC236}">
                <a16:creationId xmlns:a16="http://schemas.microsoft.com/office/drawing/2014/main" id="{481AEF24-85F0-4BC6-97E5-226AE248AA9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9" name="AutoShape 69">
              <a:extLst>
                <a:ext uri="{FF2B5EF4-FFF2-40B4-BE49-F238E27FC236}">
                  <a16:creationId xmlns:a16="http://schemas.microsoft.com/office/drawing/2014/main" id="{0A870DFB-D777-472D-A446-B832BC40755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440C644D-E2CB-4158-ABF8-AD00C57848E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72">
              <a:extLst>
                <a:ext uri="{FF2B5EF4-FFF2-40B4-BE49-F238E27FC236}">
                  <a16:creationId xmlns:a16="http://schemas.microsoft.com/office/drawing/2014/main" id="{1F73C420-AD60-4ECC-B7EA-803B9F2B261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Oval 73">
              <a:extLst>
                <a:ext uri="{FF2B5EF4-FFF2-40B4-BE49-F238E27FC236}">
                  <a16:creationId xmlns:a16="http://schemas.microsoft.com/office/drawing/2014/main" id="{A72D35A4-9AF3-4556-B57F-CC942456D2C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74">
              <a:extLst>
                <a:ext uri="{FF2B5EF4-FFF2-40B4-BE49-F238E27FC236}">
                  <a16:creationId xmlns:a16="http://schemas.microsoft.com/office/drawing/2014/main" id="{1E6E560C-354C-47DD-B4AA-DD96F5E27141}"/>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75">
              <a:extLst>
                <a:ext uri="{FF2B5EF4-FFF2-40B4-BE49-F238E27FC236}">
                  <a16:creationId xmlns:a16="http://schemas.microsoft.com/office/drawing/2014/main" id="{6B54421F-DBDF-4F00-ABC3-F197328D520D}"/>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2538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2/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305210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701F4-DC79-4762-8FDE-629DA4F8838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CD98E32-13A9-4C74-97C7-1F65CFD80650}"/>
              </a:ext>
            </a:extLst>
          </p:cNvPr>
          <p:cNvSpPr>
            <a:spLocks noGrp="1"/>
          </p:cNvSpPr>
          <p:nvPr>
            <p:ph sz="quarter" idx="10"/>
          </p:nvPr>
        </p:nvSpPr>
        <p:spPr>
          <a:xfrm>
            <a:off x="571500" y="1485900"/>
            <a:ext cx="30861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6C2B6165-C51C-460A-B100-370DCDFD69F4}"/>
              </a:ext>
            </a:extLst>
          </p:cNvPr>
          <p:cNvSpPr>
            <a:spLocks noGrp="1"/>
          </p:cNvSpPr>
          <p:nvPr>
            <p:ph sz="quarter" idx="11"/>
          </p:nvPr>
        </p:nvSpPr>
        <p:spPr>
          <a:xfrm>
            <a:off x="571500" y="2235200"/>
            <a:ext cx="3086100" cy="353045"/>
          </a:xfrm>
        </p:spPr>
        <p:txBody>
          <a:bodyPr/>
          <a:lstStyle/>
          <a:p>
            <a:pPr lvl="0"/>
            <a:r>
              <a:rPr lang="en-US"/>
              <a:t>Click to edit</a:t>
            </a:r>
          </a:p>
        </p:txBody>
      </p:sp>
      <p:pic>
        <p:nvPicPr>
          <p:cNvPr id="5" name="Picture 4">
            <a:extLst>
              <a:ext uri="{FF2B5EF4-FFF2-40B4-BE49-F238E27FC236}">
                <a16:creationId xmlns:a16="http://schemas.microsoft.com/office/drawing/2014/main" id="{39DE0CC2-CE9E-4849-9828-5FE096AD1204}"/>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0"/>
            <a:ext cx="12192000" cy="6858000"/>
          </a:xfrm>
          <a:prstGeom prst="rect">
            <a:avLst/>
          </a:prstGeom>
        </p:spPr>
      </p:pic>
      <p:sp>
        <p:nvSpPr>
          <p:cNvPr id="7" name="Rectangle 6">
            <a:extLst>
              <a:ext uri="{FF2B5EF4-FFF2-40B4-BE49-F238E27FC236}">
                <a16:creationId xmlns:a16="http://schemas.microsoft.com/office/drawing/2014/main" id="{F1C3B933-4F05-42C5-80EF-2E0869F02A88}"/>
              </a:ext>
              <a:ext uri="{C183D7F6-B498-43B3-948B-1728B52AA6E4}">
                <adec:decorative xmlns:adec="http://schemas.microsoft.com/office/drawing/2017/decorative" val="1"/>
              </a:ext>
            </a:extLst>
          </p:cNvPr>
          <p:cNvSpPr/>
          <p:nvPr userDrawn="1"/>
        </p:nvSpPr>
        <p:spPr bwMode="auto">
          <a:xfrm>
            <a:off x="0" y="-31608"/>
            <a:ext cx="12192000"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protection against unplanned costs">
            <a:extLst>
              <a:ext uri="{FF2B5EF4-FFF2-40B4-BE49-F238E27FC236}">
                <a16:creationId xmlns:a16="http://schemas.microsoft.com/office/drawing/2014/main" id="{AE0E6F99-0337-415F-9E08-7D8D82D9FF93}"/>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9" name="AutoShape 69">
              <a:extLst>
                <a:ext uri="{FF2B5EF4-FFF2-40B4-BE49-F238E27FC236}">
                  <a16:creationId xmlns:a16="http://schemas.microsoft.com/office/drawing/2014/main" id="{3AC8E87F-3EC2-489A-A6DF-78BCF4C4379E}"/>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1">
              <a:extLst>
                <a:ext uri="{FF2B5EF4-FFF2-40B4-BE49-F238E27FC236}">
                  <a16:creationId xmlns:a16="http://schemas.microsoft.com/office/drawing/2014/main" id="{FD4AED2D-3976-43A2-A6EA-339761D03855}"/>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2">
              <a:extLst>
                <a:ext uri="{FF2B5EF4-FFF2-40B4-BE49-F238E27FC236}">
                  <a16:creationId xmlns:a16="http://schemas.microsoft.com/office/drawing/2014/main" id="{60E04881-CBEA-4EC1-819C-34E540EE3A3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73">
              <a:extLst>
                <a:ext uri="{FF2B5EF4-FFF2-40B4-BE49-F238E27FC236}">
                  <a16:creationId xmlns:a16="http://schemas.microsoft.com/office/drawing/2014/main" id="{F7A5D8C2-8857-4122-A269-CF09AA71A65B}"/>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4">
              <a:extLst>
                <a:ext uri="{FF2B5EF4-FFF2-40B4-BE49-F238E27FC236}">
                  <a16:creationId xmlns:a16="http://schemas.microsoft.com/office/drawing/2014/main" id="{0D0044F3-B9C7-4644-8FDE-61B8FD2E5EA9}"/>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5">
              <a:extLst>
                <a:ext uri="{FF2B5EF4-FFF2-40B4-BE49-F238E27FC236}">
                  <a16:creationId xmlns:a16="http://schemas.microsoft.com/office/drawing/2014/main" id="{0AFF096C-C362-46D8-B04E-E9BB7FDC1AF0}"/>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3000005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07F34-2734-4563-90AC-4C966081A4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0536D1A-A4C2-48E9-939F-A7DFE90CF761}"/>
              </a:ext>
            </a:extLst>
          </p:cNvPr>
          <p:cNvSpPr>
            <a:spLocks noGrp="1"/>
          </p:cNvSpPr>
          <p:nvPr>
            <p:ph sz="quarter" idx="10"/>
          </p:nvPr>
        </p:nvSpPr>
        <p:spPr>
          <a:xfrm>
            <a:off x="863600" y="2298700"/>
            <a:ext cx="3327400" cy="353045"/>
          </a:xfrm>
        </p:spPr>
        <p:txBody>
          <a:bodyPr/>
          <a:lstStyle/>
          <a:p>
            <a:pPr lvl="0"/>
            <a:r>
              <a:rPr lang="en-US"/>
              <a:t>Click to edit</a:t>
            </a:r>
          </a:p>
        </p:txBody>
      </p:sp>
      <p:sp>
        <p:nvSpPr>
          <p:cNvPr id="5" name="Rectangle 4">
            <a:extLst>
              <a:ext uri="{FF2B5EF4-FFF2-40B4-BE49-F238E27FC236}">
                <a16:creationId xmlns:a16="http://schemas.microsoft.com/office/drawing/2014/main" id="{3F1B70FB-D2E9-4E51-8834-D3003B6EF35A}"/>
              </a:ext>
              <a:ext uri="{C183D7F6-B498-43B3-948B-1728B52AA6E4}">
                <adec:decorative xmlns:adec="http://schemas.microsoft.com/office/drawing/2017/decorative" val="1"/>
              </a:ext>
            </a:extLst>
          </p:cNvPr>
          <p:cNvSpPr/>
          <p:nvPr userDrawn="1"/>
        </p:nvSpPr>
        <p:spPr bwMode="auto">
          <a:xfrm>
            <a:off x="6675373" y="1387400"/>
            <a:ext cx="4432548" cy="4928121"/>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AFCC3D1-E64C-4F0E-B103-B7B957490280}"/>
              </a:ext>
              <a:ext uri="{C183D7F6-B498-43B3-948B-1728B52AA6E4}">
                <adec:decorative xmlns:adec="http://schemas.microsoft.com/office/drawing/2017/decorative" val="1"/>
              </a:ext>
            </a:extLst>
          </p:cNvPr>
          <p:cNvSpPr/>
          <p:nvPr userDrawn="1"/>
        </p:nvSpPr>
        <p:spPr bwMode="auto">
          <a:xfrm>
            <a:off x="6327410" y="2775096"/>
            <a:ext cx="4432548" cy="1868042"/>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protection against unplanned costs">
            <a:extLst>
              <a:ext uri="{FF2B5EF4-FFF2-40B4-BE49-F238E27FC236}">
                <a16:creationId xmlns:a16="http://schemas.microsoft.com/office/drawing/2014/main" id="{E65932A0-8AAA-487D-922A-207FA8334190}"/>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8" name="AutoShape 69">
              <a:extLst>
                <a:ext uri="{FF2B5EF4-FFF2-40B4-BE49-F238E27FC236}">
                  <a16:creationId xmlns:a16="http://schemas.microsoft.com/office/drawing/2014/main" id="{1FBC069D-E3CB-446A-8111-CC89579E2F53}"/>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1">
              <a:extLst>
                <a:ext uri="{FF2B5EF4-FFF2-40B4-BE49-F238E27FC236}">
                  <a16:creationId xmlns:a16="http://schemas.microsoft.com/office/drawing/2014/main" id="{05B5D3FB-2AAC-4A93-91EC-5DD807814B1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2">
              <a:extLst>
                <a:ext uri="{FF2B5EF4-FFF2-40B4-BE49-F238E27FC236}">
                  <a16:creationId xmlns:a16="http://schemas.microsoft.com/office/drawing/2014/main" id="{42374F25-DDA0-4DED-A180-D03E1FDE07D0}"/>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73">
              <a:extLst>
                <a:ext uri="{FF2B5EF4-FFF2-40B4-BE49-F238E27FC236}">
                  <a16:creationId xmlns:a16="http://schemas.microsoft.com/office/drawing/2014/main" id="{0886DF3F-75D4-4729-BACF-65FAE4B806F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4">
              <a:extLst>
                <a:ext uri="{FF2B5EF4-FFF2-40B4-BE49-F238E27FC236}">
                  <a16:creationId xmlns:a16="http://schemas.microsoft.com/office/drawing/2014/main" id="{99E44CE0-B181-4EEA-A681-9CE852C350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5">
              <a:extLst>
                <a:ext uri="{FF2B5EF4-FFF2-40B4-BE49-F238E27FC236}">
                  <a16:creationId xmlns:a16="http://schemas.microsoft.com/office/drawing/2014/main" id="{454C02EA-902B-4EB6-AD40-0AE11C82BC32}"/>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2885039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F3212-4840-452F-B7AA-F4D2AF6ECD4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353C9F-8C52-42B0-9C0E-03EFCCF89D3B}"/>
              </a:ext>
            </a:extLst>
          </p:cNvPr>
          <p:cNvSpPr>
            <a:spLocks noGrp="1"/>
          </p:cNvSpPr>
          <p:nvPr>
            <p:ph sz="quarter" idx="10"/>
          </p:nvPr>
        </p:nvSpPr>
        <p:spPr>
          <a:xfrm>
            <a:off x="842963" y="2033588"/>
            <a:ext cx="2403475" cy="353045"/>
          </a:xfrm>
        </p:spPr>
        <p:txBody>
          <a:bodyPr/>
          <a:lstStyle/>
          <a:p>
            <a:pPr lvl="0"/>
            <a:r>
              <a:rPr lang="en-US"/>
              <a:t>Click to</a:t>
            </a:r>
          </a:p>
        </p:txBody>
      </p:sp>
      <p:sp>
        <p:nvSpPr>
          <p:cNvPr id="6" name="Content Placeholder 5">
            <a:extLst>
              <a:ext uri="{FF2B5EF4-FFF2-40B4-BE49-F238E27FC236}">
                <a16:creationId xmlns:a16="http://schemas.microsoft.com/office/drawing/2014/main" id="{45AA0A99-B820-46A0-B9E0-A798D35DEB6D}"/>
              </a:ext>
            </a:extLst>
          </p:cNvPr>
          <p:cNvSpPr>
            <a:spLocks noGrp="1"/>
          </p:cNvSpPr>
          <p:nvPr>
            <p:ph sz="quarter" idx="11"/>
          </p:nvPr>
        </p:nvSpPr>
        <p:spPr>
          <a:xfrm>
            <a:off x="842963" y="2867025"/>
            <a:ext cx="2630487" cy="353045"/>
          </a:xfrm>
        </p:spPr>
        <p:txBody>
          <a:bodyPr/>
          <a:lstStyle/>
          <a:p>
            <a:pPr lvl="0"/>
            <a:r>
              <a:rPr lang="en-US"/>
              <a:t>Click to</a:t>
            </a:r>
          </a:p>
        </p:txBody>
      </p:sp>
    </p:spTree>
    <p:extLst>
      <p:ext uri="{BB962C8B-B14F-4D97-AF65-F5344CB8AC3E}">
        <p14:creationId xmlns:p14="http://schemas.microsoft.com/office/powerpoint/2010/main" val="300221640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1E25C-AFE5-4A4C-B3B6-BDD4695642C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584AEB7-B534-4438-864F-E7D4E0296A36}"/>
              </a:ext>
            </a:extLst>
          </p:cNvPr>
          <p:cNvSpPr>
            <a:spLocks noGrp="1"/>
          </p:cNvSpPr>
          <p:nvPr>
            <p:ph sz="quarter" idx="10"/>
          </p:nvPr>
        </p:nvSpPr>
        <p:spPr>
          <a:xfrm>
            <a:off x="427038" y="1498600"/>
            <a:ext cx="1503362" cy="353045"/>
          </a:xfrm>
        </p:spPr>
        <p:txBody>
          <a:bodyPr/>
          <a:lstStyle/>
          <a:p>
            <a:pPr lvl="0"/>
            <a:r>
              <a:rPr lang="en-US"/>
              <a:t>Click</a:t>
            </a:r>
          </a:p>
        </p:txBody>
      </p:sp>
      <p:sp>
        <p:nvSpPr>
          <p:cNvPr id="6" name="Content Placeholder 5">
            <a:extLst>
              <a:ext uri="{FF2B5EF4-FFF2-40B4-BE49-F238E27FC236}">
                <a16:creationId xmlns:a16="http://schemas.microsoft.com/office/drawing/2014/main" id="{FF694CD3-C4C3-4931-80AA-B1D6567B9DD7}"/>
              </a:ext>
            </a:extLst>
          </p:cNvPr>
          <p:cNvSpPr>
            <a:spLocks noGrp="1"/>
          </p:cNvSpPr>
          <p:nvPr>
            <p:ph sz="quarter" idx="11"/>
          </p:nvPr>
        </p:nvSpPr>
        <p:spPr>
          <a:xfrm>
            <a:off x="427038" y="2095500"/>
            <a:ext cx="1503362" cy="353045"/>
          </a:xfrm>
        </p:spPr>
        <p:txBody>
          <a:bodyPr/>
          <a:lstStyle/>
          <a:p>
            <a:pPr lvl="0"/>
            <a:r>
              <a:rPr lang="en-US"/>
              <a:t>Click</a:t>
            </a:r>
          </a:p>
        </p:txBody>
      </p:sp>
      <p:sp>
        <p:nvSpPr>
          <p:cNvPr id="8" name="Content Placeholder 7">
            <a:extLst>
              <a:ext uri="{FF2B5EF4-FFF2-40B4-BE49-F238E27FC236}">
                <a16:creationId xmlns:a16="http://schemas.microsoft.com/office/drawing/2014/main" id="{0FE28B5D-91F4-4B86-8460-332697961EBC}"/>
              </a:ext>
            </a:extLst>
          </p:cNvPr>
          <p:cNvSpPr>
            <a:spLocks noGrp="1"/>
          </p:cNvSpPr>
          <p:nvPr>
            <p:ph sz="quarter" idx="12"/>
          </p:nvPr>
        </p:nvSpPr>
        <p:spPr>
          <a:xfrm>
            <a:off x="427038" y="2628900"/>
            <a:ext cx="1503362" cy="353045"/>
          </a:xfrm>
        </p:spPr>
        <p:txBody>
          <a:bodyPr/>
          <a:lstStyle/>
          <a:p>
            <a:pPr lvl="0"/>
            <a:r>
              <a:rPr lang="en-US"/>
              <a:t>Click</a:t>
            </a:r>
          </a:p>
        </p:txBody>
      </p:sp>
      <p:sp>
        <p:nvSpPr>
          <p:cNvPr id="10" name="Content Placeholder 9">
            <a:extLst>
              <a:ext uri="{FF2B5EF4-FFF2-40B4-BE49-F238E27FC236}">
                <a16:creationId xmlns:a16="http://schemas.microsoft.com/office/drawing/2014/main" id="{53AEE362-30EB-48E0-9280-FB95D2A073C9}"/>
              </a:ext>
            </a:extLst>
          </p:cNvPr>
          <p:cNvSpPr>
            <a:spLocks noGrp="1"/>
          </p:cNvSpPr>
          <p:nvPr>
            <p:ph sz="quarter" idx="13"/>
          </p:nvPr>
        </p:nvSpPr>
        <p:spPr>
          <a:xfrm>
            <a:off x="2235200" y="1498600"/>
            <a:ext cx="1168400" cy="352425"/>
          </a:xfrm>
        </p:spPr>
        <p:txBody>
          <a:bodyPr/>
          <a:lstStyle/>
          <a:p>
            <a:pPr lvl="0"/>
            <a:r>
              <a:rPr lang="en-US"/>
              <a:t>Click</a:t>
            </a:r>
          </a:p>
        </p:txBody>
      </p:sp>
      <p:sp>
        <p:nvSpPr>
          <p:cNvPr id="12" name="Content Placeholder 11">
            <a:extLst>
              <a:ext uri="{FF2B5EF4-FFF2-40B4-BE49-F238E27FC236}">
                <a16:creationId xmlns:a16="http://schemas.microsoft.com/office/drawing/2014/main" id="{55C6EFEB-FAAE-48E4-AB82-B7C243D99ADF}"/>
              </a:ext>
            </a:extLst>
          </p:cNvPr>
          <p:cNvSpPr>
            <a:spLocks noGrp="1"/>
          </p:cNvSpPr>
          <p:nvPr>
            <p:ph sz="quarter" idx="14"/>
          </p:nvPr>
        </p:nvSpPr>
        <p:spPr>
          <a:xfrm>
            <a:off x="2235200" y="2095500"/>
            <a:ext cx="1168400" cy="352425"/>
          </a:xfrm>
        </p:spPr>
        <p:txBody>
          <a:bodyPr/>
          <a:lstStyle/>
          <a:p>
            <a:pPr lvl="0"/>
            <a:r>
              <a:rPr lang="en-US"/>
              <a:t>Click</a:t>
            </a:r>
          </a:p>
        </p:txBody>
      </p:sp>
      <p:sp>
        <p:nvSpPr>
          <p:cNvPr id="14" name="Content Placeholder 13">
            <a:extLst>
              <a:ext uri="{FF2B5EF4-FFF2-40B4-BE49-F238E27FC236}">
                <a16:creationId xmlns:a16="http://schemas.microsoft.com/office/drawing/2014/main" id="{0F503985-A2E1-4805-B683-50623A588B0F}"/>
              </a:ext>
            </a:extLst>
          </p:cNvPr>
          <p:cNvSpPr>
            <a:spLocks noGrp="1"/>
          </p:cNvSpPr>
          <p:nvPr>
            <p:ph sz="quarter" idx="15"/>
          </p:nvPr>
        </p:nvSpPr>
        <p:spPr>
          <a:xfrm>
            <a:off x="2349500" y="2628900"/>
            <a:ext cx="1168400" cy="353045"/>
          </a:xfrm>
        </p:spPr>
        <p:txBody>
          <a:bodyPr/>
          <a:lstStyle/>
          <a:p>
            <a:pPr lvl="0"/>
            <a:r>
              <a:rPr lang="en-US"/>
              <a:t>Click</a:t>
            </a:r>
          </a:p>
        </p:txBody>
      </p:sp>
      <p:sp>
        <p:nvSpPr>
          <p:cNvPr id="16" name="Content Placeholder 15">
            <a:extLst>
              <a:ext uri="{FF2B5EF4-FFF2-40B4-BE49-F238E27FC236}">
                <a16:creationId xmlns:a16="http://schemas.microsoft.com/office/drawing/2014/main" id="{48571566-6D86-4395-A935-3B587E67DE18}"/>
              </a:ext>
            </a:extLst>
          </p:cNvPr>
          <p:cNvSpPr>
            <a:spLocks noGrp="1"/>
          </p:cNvSpPr>
          <p:nvPr>
            <p:ph sz="quarter" idx="16" hasCustomPrompt="1"/>
          </p:nvPr>
        </p:nvSpPr>
        <p:spPr>
          <a:xfrm>
            <a:off x="4597400" y="1498600"/>
            <a:ext cx="1955800" cy="353045"/>
          </a:xfrm>
        </p:spPr>
        <p:txBody>
          <a:bodyPr/>
          <a:lstStyle/>
          <a:p>
            <a:pPr lvl="0"/>
            <a:r>
              <a:rPr lang="en-US"/>
              <a:t>Click to </a:t>
            </a:r>
            <a:r>
              <a:rPr lang="en-US" err="1"/>
              <a:t>el</a:t>
            </a:r>
            <a:endParaRPr lang="en-US"/>
          </a:p>
        </p:txBody>
      </p:sp>
      <p:sp>
        <p:nvSpPr>
          <p:cNvPr id="18" name="Content Placeholder 17">
            <a:extLst>
              <a:ext uri="{FF2B5EF4-FFF2-40B4-BE49-F238E27FC236}">
                <a16:creationId xmlns:a16="http://schemas.microsoft.com/office/drawing/2014/main" id="{DE96E944-F5DB-47FD-848F-793AF0DD014F}"/>
              </a:ext>
            </a:extLst>
          </p:cNvPr>
          <p:cNvSpPr>
            <a:spLocks noGrp="1"/>
          </p:cNvSpPr>
          <p:nvPr>
            <p:ph sz="quarter" idx="17"/>
          </p:nvPr>
        </p:nvSpPr>
        <p:spPr>
          <a:xfrm>
            <a:off x="4597400" y="2006600"/>
            <a:ext cx="21590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9598E80-5E57-4DA9-96C2-DEBF3FA2FB1A}"/>
              </a:ext>
            </a:extLst>
          </p:cNvPr>
          <p:cNvSpPr>
            <a:spLocks noGrp="1"/>
          </p:cNvSpPr>
          <p:nvPr>
            <p:ph sz="quarter" idx="18" hasCustomPrompt="1"/>
          </p:nvPr>
        </p:nvSpPr>
        <p:spPr>
          <a:xfrm>
            <a:off x="4597400" y="2628900"/>
            <a:ext cx="2159000" cy="350838"/>
          </a:xfrm>
        </p:spPr>
        <p:txBody>
          <a:bodyPr/>
          <a:lstStyle/>
          <a:p>
            <a:pPr lvl="0"/>
            <a:r>
              <a:rPr lang="en-US"/>
              <a:t>Click to </a:t>
            </a:r>
            <a:r>
              <a:rPr lang="en-US" err="1"/>
              <a:t>el</a:t>
            </a:r>
            <a:endParaRPr lang="en-US"/>
          </a:p>
        </p:txBody>
      </p:sp>
      <p:sp>
        <p:nvSpPr>
          <p:cNvPr id="22" name="Content Placeholder 21">
            <a:extLst>
              <a:ext uri="{FF2B5EF4-FFF2-40B4-BE49-F238E27FC236}">
                <a16:creationId xmlns:a16="http://schemas.microsoft.com/office/drawing/2014/main" id="{982AA226-8A11-438A-9660-95598A86226D}"/>
              </a:ext>
            </a:extLst>
          </p:cNvPr>
          <p:cNvSpPr>
            <a:spLocks noGrp="1"/>
          </p:cNvSpPr>
          <p:nvPr>
            <p:ph sz="quarter" idx="19"/>
          </p:nvPr>
        </p:nvSpPr>
        <p:spPr>
          <a:xfrm>
            <a:off x="427038" y="3429000"/>
            <a:ext cx="2125662" cy="353045"/>
          </a:xfrm>
        </p:spPr>
        <p:txBody>
          <a:bodyPr/>
          <a:lstStyle/>
          <a:p>
            <a:pPr lvl="0"/>
            <a:r>
              <a:rPr lang="en-US"/>
              <a:t>Click to</a:t>
            </a:r>
          </a:p>
        </p:txBody>
      </p:sp>
      <p:sp>
        <p:nvSpPr>
          <p:cNvPr id="24" name="Content Placeholder 23">
            <a:extLst>
              <a:ext uri="{FF2B5EF4-FFF2-40B4-BE49-F238E27FC236}">
                <a16:creationId xmlns:a16="http://schemas.microsoft.com/office/drawing/2014/main" id="{0AA94F7E-F999-47E6-9A45-97B6E53D7045}"/>
              </a:ext>
            </a:extLst>
          </p:cNvPr>
          <p:cNvSpPr>
            <a:spLocks noGrp="1"/>
          </p:cNvSpPr>
          <p:nvPr>
            <p:ph sz="quarter" idx="20"/>
          </p:nvPr>
        </p:nvSpPr>
        <p:spPr>
          <a:xfrm>
            <a:off x="427038" y="3975100"/>
            <a:ext cx="21256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C4D4CB05-396C-4143-B062-854FB4CA1458}"/>
              </a:ext>
            </a:extLst>
          </p:cNvPr>
          <p:cNvSpPr>
            <a:spLocks noGrp="1"/>
          </p:cNvSpPr>
          <p:nvPr>
            <p:ph sz="quarter" idx="21"/>
          </p:nvPr>
        </p:nvSpPr>
        <p:spPr>
          <a:xfrm>
            <a:off x="426424" y="4521200"/>
            <a:ext cx="2125662" cy="353045"/>
          </a:xfrm>
        </p:spPr>
        <p:txBody>
          <a:bodyPr/>
          <a:lstStyle/>
          <a:p>
            <a:pPr lvl="0"/>
            <a:r>
              <a:rPr lang="en-US"/>
              <a:t>Click to</a:t>
            </a:r>
          </a:p>
        </p:txBody>
      </p:sp>
      <p:sp>
        <p:nvSpPr>
          <p:cNvPr id="28" name="Content Placeholder 27">
            <a:extLst>
              <a:ext uri="{FF2B5EF4-FFF2-40B4-BE49-F238E27FC236}">
                <a16:creationId xmlns:a16="http://schemas.microsoft.com/office/drawing/2014/main" id="{997B5B89-55D5-4557-A88C-8D0DAF710B44}"/>
              </a:ext>
            </a:extLst>
          </p:cNvPr>
          <p:cNvSpPr>
            <a:spLocks noGrp="1"/>
          </p:cNvSpPr>
          <p:nvPr>
            <p:ph sz="quarter" idx="22"/>
          </p:nvPr>
        </p:nvSpPr>
        <p:spPr>
          <a:xfrm>
            <a:off x="3517900" y="3429000"/>
            <a:ext cx="1752600" cy="353045"/>
          </a:xfrm>
        </p:spPr>
        <p:txBody>
          <a:bodyPr/>
          <a:lstStyle/>
          <a:p>
            <a:pPr lvl="0"/>
            <a:r>
              <a:rPr lang="en-US"/>
              <a:t>Click to</a:t>
            </a:r>
          </a:p>
        </p:txBody>
      </p:sp>
      <p:sp>
        <p:nvSpPr>
          <p:cNvPr id="30" name="Content Placeholder 29">
            <a:extLst>
              <a:ext uri="{FF2B5EF4-FFF2-40B4-BE49-F238E27FC236}">
                <a16:creationId xmlns:a16="http://schemas.microsoft.com/office/drawing/2014/main" id="{E7A8CF08-0A63-426D-82A0-E6BEF3107BA6}"/>
              </a:ext>
            </a:extLst>
          </p:cNvPr>
          <p:cNvSpPr>
            <a:spLocks noGrp="1"/>
          </p:cNvSpPr>
          <p:nvPr>
            <p:ph sz="quarter" idx="23" hasCustomPrompt="1"/>
          </p:nvPr>
        </p:nvSpPr>
        <p:spPr>
          <a:xfrm>
            <a:off x="3517900" y="3975100"/>
            <a:ext cx="1752600" cy="352425"/>
          </a:xfrm>
        </p:spPr>
        <p:txBody>
          <a:bodyPr/>
          <a:lstStyle/>
          <a:p>
            <a:pPr lvl="0"/>
            <a:r>
              <a:rPr lang="en-US"/>
              <a:t>Click vel</a:t>
            </a:r>
          </a:p>
        </p:txBody>
      </p:sp>
      <p:sp>
        <p:nvSpPr>
          <p:cNvPr id="32" name="Content Placeholder 31">
            <a:extLst>
              <a:ext uri="{FF2B5EF4-FFF2-40B4-BE49-F238E27FC236}">
                <a16:creationId xmlns:a16="http://schemas.microsoft.com/office/drawing/2014/main" id="{98E3B5E8-1276-4FD1-9F23-5E50D539FB22}"/>
              </a:ext>
            </a:extLst>
          </p:cNvPr>
          <p:cNvSpPr>
            <a:spLocks noGrp="1"/>
          </p:cNvSpPr>
          <p:nvPr>
            <p:ph sz="quarter" idx="24" hasCustomPrompt="1"/>
          </p:nvPr>
        </p:nvSpPr>
        <p:spPr>
          <a:xfrm>
            <a:off x="3517900" y="4521200"/>
            <a:ext cx="1752600" cy="353045"/>
          </a:xfrm>
        </p:spPr>
        <p:txBody>
          <a:bodyPr/>
          <a:lstStyle/>
          <a:p>
            <a:pPr lvl="0"/>
            <a:r>
              <a:rPr lang="en-US"/>
              <a:t>Click to </a:t>
            </a:r>
            <a:r>
              <a:rPr lang="en-US" err="1"/>
              <a:t>el</a:t>
            </a:r>
            <a:endParaRPr lang="en-US"/>
          </a:p>
        </p:txBody>
      </p:sp>
      <p:sp>
        <p:nvSpPr>
          <p:cNvPr id="34" name="Content Placeholder 33">
            <a:extLst>
              <a:ext uri="{FF2B5EF4-FFF2-40B4-BE49-F238E27FC236}">
                <a16:creationId xmlns:a16="http://schemas.microsoft.com/office/drawing/2014/main" id="{53F2FCD1-B44D-49CB-8445-D9EBD4B10B48}"/>
              </a:ext>
            </a:extLst>
          </p:cNvPr>
          <p:cNvSpPr>
            <a:spLocks noGrp="1"/>
          </p:cNvSpPr>
          <p:nvPr>
            <p:ph sz="quarter" idx="25"/>
          </p:nvPr>
        </p:nvSpPr>
        <p:spPr>
          <a:xfrm>
            <a:off x="6337300" y="3429000"/>
            <a:ext cx="1905000" cy="350838"/>
          </a:xfrm>
        </p:spPr>
        <p:txBody>
          <a:bodyPr/>
          <a:lstStyle/>
          <a:p>
            <a:pPr lvl="0"/>
            <a:r>
              <a:rPr lang="en-US"/>
              <a:t>Click to</a:t>
            </a:r>
          </a:p>
        </p:txBody>
      </p:sp>
      <p:sp>
        <p:nvSpPr>
          <p:cNvPr id="36" name="Content Placeholder 35">
            <a:extLst>
              <a:ext uri="{FF2B5EF4-FFF2-40B4-BE49-F238E27FC236}">
                <a16:creationId xmlns:a16="http://schemas.microsoft.com/office/drawing/2014/main" id="{07BA8BEC-9DAA-4164-A162-F275094F1D47}"/>
              </a:ext>
            </a:extLst>
          </p:cNvPr>
          <p:cNvSpPr>
            <a:spLocks noGrp="1"/>
          </p:cNvSpPr>
          <p:nvPr>
            <p:ph sz="quarter" idx="26"/>
          </p:nvPr>
        </p:nvSpPr>
        <p:spPr>
          <a:xfrm>
            <a:off x="6337300" y="3975100"/>
            <a:ext cx="1905000" cy="350838"/>
          </a:xfrm>
        </p:spPr>
        <p:txBody>
          <a:bodyPr/>
          <a:lstStyle/>
          <a:p>
            <a:pPr lvl="0"/>
            <a:r>
              <a:rPr lang="en-US"/>
              <a:t>Click to</a:t>
            </a:r>
          </a:p>
        </p:txBody>
      </p:sp>
      <p:sp>
        <p:nvSpPr>
          <p:cNvPr id="38" name="Content Placeholder 37">
            <a:extLst>
              <a:ext uri="{FF2B5EF4-FFF2-40B4-BE49-F238E27FC236}">
                <a16:creationId xmlns:a16="http://schemas.microsoft.com/office/drawing/2014/main" id="{8AA420F7-B1A4-4245-A324-3F009D3EFF79}"/>
              </a:ext>
            </a:extLst>
          </p:cNvPr>
          <p:cNvSpPr>
            <a:spLocks noGrp="1"/>
          </p:cNvSpPr>
          <p:nvPr>
            <p:ph sz="quarter" idx="27"/>
          </p:nvPr>
        </p:nvSpPr>
        <p:spPr>
          <a:xfrm>
            <a:off x="6337300" y="4521200"/>
            <a:ext cx="2032000" cy="353045"/>
          </a:xfrm>
        </p:spPr>
        <p:txBody>
          <a:bodyPr/>
          <a:lstStyle/>
          <a:p>
            <a:pPr lvl="0"/>
            <a:r>
              <a:rPr lang="en-US"/>
              <a:t>Click to</a:t>
            </a:r>
          </a:p>
        </p:txBody>
      </p:sp>
    </p:spTree>
    <p:extLst>
      <p:ext uri="{BB962C8B-B14F-4D97-AF65-F5344CB8AC3E}">
        <p14:creationId xmlns:p14="http://schemas.microsoft.com/office/powerpoint/2010/main" val="42181335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88584406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32FBA-0DFB-4E1B-BD04-E59B634FEC9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580A61CF-BD52-4497-AC1C-ED484AA55E5F}"/>
              </a:ext>
            </a:extLst>
          </p:cNvPr>
          <p:cNvSpPr>
            <a:spLocks noGrp="1"/>
          </p:cNvSpPr>
          <p:nvPr>
            <p:ph sz="quarter" idx="10"/>
          </p:nvPr>
        </p:nvSpPr>
        <p:spPr>
          <a:xfrm>
            <a:off x="647700" y="1346200"/>
            <a:ext cx="29210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10CB5446-CC15-413F-A985-7F97A92AC0E4}"/>
              </a:ext>
            </a:extLst>
          </p:cNvPr>
          <p:cNvSpPr>
            <a:spLocks noGrp="1"/>
          </p:cNvSpPr>
          <p:nvPr>
            <p:ph sz="quarter" idx="11"/>
          </p:nvPr>
        </p:nvSpPr>
        <p:spPr>
          <a:xfrm>
            <a:off x="647700" y="1968500"/>
            <a:ext cx="27686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63EE8B6C-EA92-4CE8-AA9C-586D16979DF5}"/>
              </a:ext>
            </a:extLst>
          </p:cNvPr>
          <p:cNvSpPr>
            <a:spLocks noGrp="1"/>
          </p:cNvSpPr>
          <p:nvPr>
            <p:ph sz="quarter" idx="12"/>
          </p:nvPr>
        </p:nvSpPr>
        <p:spPr>
          <a:xfrm>
            <a:off x="647700" y="2540000"/>
            <a:ext cx="27686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D35F5DAF-4F19-4040-9505-3099BE5E8ED0}"/>
              </a:ext>
            </a:extLst>
          </p:cNvPr>
          <p:cNvSpPr>
            <a:spLocks noGrp="1"/>
          </p:cNvSpPr>
          <p:nvPr>
            <p:ph sz="quarter" idx="13"/>
          </p:nvPr>
        </p:nvSpPr>
        <p:spPr>
          <a:xfrm>
            <a:off x="647700" y="3187700"/>
            <a:ext cx="27686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6D4F9BCD-A7B5-445F-933D-BCDB7DDAE329}"/>
              </a:ext>
            </a:extLst>
          </p:cNvPr>
          <p:cNvSpPr>
            <a:spLocks noGrp="1"/>
          </p:cNvSpPr>
          <p:nvPr>
            <p:ph sz="quarter" idx="14"/>
          </p:nvPr>
        </p:nvSpPr>
        <p:spPr>
          <a:xfrm>
            <a:off x="647700" y="3771900"/>
            <a:ext cx="2768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53930AA-25E5-42B5-9C31-2E316370F075}"/>
              </a:ext>
            </a:extLst>
          </p:cNvPr>
          <p:cNvSpPr>
            <a:spLocks noGrp="1"/>
          </p:cNvSpPr>
          <p:nvPr>
            <p:ph sz="quarter" idx="15"/>
          </p:nvPr>
        </p:nvSpPr>
        <p:spPr>
          <a:xfrm>
            <a:off x="736600" y="4394200"/>
            <a:ext cx="25781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AEA295E9-542F-460F-8644-9781A604A5A3}"/>
              </a:ext>
            </a:extLst>
          </p:cNvPr>
          <p:cNvSpPr>
            <a:spLocks noGrp="1"/>
          </p:cNvSpPr>
          <p:nvPr>
            <p:ph sz="quarter" idx="16"/>
          </p:nvPr>
        </p:nvSpPr>
        <p:spPr>
          <a:xfrm>
            <a:off x="736600" y="5080000"/>
            <a:ext cx="2578100" cy="353045"/>
          </a:xfrm>
        </p:spPr>
        <p:txBody>
          <a:bodyPr/>
          <a:lstStyle/>
          <a:p>
            <a:pPr lvl="0"/>
            <a:r>
              <a:rPr lang="en-US"/>
              <a:t>Click to edit</a:t>
            </a:r>
          </a:p>
        </p:txBody>
      </p:sp>
      <p:pic>
        <p:nvPicPr>
          <p:cNvPr id="24" name="Picture 23">
            <a:extLst>
              <a:ext uri="{FF2B5EF4-FFF2-40B4-BE49-F238E27FC236}">
                <a16:creationId xmlns:a16="http://schemas.microsoft.com/office/drawing/2014/main" id="{0EAB9BE6-85F1-490F-B4CF-72A372779915}"/>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03848"/>
            <a:ext cx="12192000" cy="7161848"/>
          </a:xfrm>
          <a:prstGeom prst="rect">
            <a:avLst/>
          </a:prstGeom>
        </p:spPr>
      </p:pic>
      <p:sp>
        <p:nvSpPr>
          <p:cNvPr id="25" name="Rectangle 24">
            <a:extLst>
              <a:ext uri="{FF2B5EF4-FFF2-40B4-BE49-F238E27FC236}">
                <a16:creationId xmlns:a16="http://schemas.microsoft.com/office/drawing/2014/main" id="{55384987-59BC-4C0B-8325-15A41FECB1BE}"/>
              </a:ext>
              <a:ext uri="{C183D7F6-B498-43B3-948B-1728B52AA6E4}">
                <adec:decorative xmlns:adec="http://schemas.microsoft.com/office/drawing/2017/decorative" val="1"/>
              </a:ext>
            </a:extLst>
          </p:cNvPr>
          <p:cNvSpPr/>
          <p:nvPr userDrawn="1"/>
        </p:nvSpPr>
        <p:spPr bwMode="auto">
          <a:xfrm>
            <a:off x="0" y="-628067"/>
            <a:ext cx="12192000" cy="7159496"/>
          </a:xfrm>
          <a:prstGeom prst="rect">
            <a:avLst/>
          </a:prstGeom>
          <a:gradFill flip="none" rotWithShape="1">
            <a:gsLst>
              <a:gs pos="32000">
                <a:srgbClr val="000000"/>
              </a:gs>
              <a:gs pos="81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3B58BFA4-B5D5-4DFD-A94F-46537E44FCC6}"/>
              </a:ext>
              <a:ext uri="{C183D7F6-B498-43B3-948B-1728B52AA6E4}">
                <adec:decorative xmlns:adec="http://schemas.microsoft.com/office/drawing/2017/decorative" val="1"/>
              </a:ext>
            </a:extLst>
          </p:cNvPr>
          <p:cNvCxnSpPr>
            <a:cxnSpLocks/>
          </p:cNvCxnSpPr>
          <p:nvPr userDrawn="1"/>
        </p:nvCxnSpPr>
        <p:spPr>
          <a:xfrm>
            <a:off x="832213" y="4888568"/>
            <a:ext cx="10922000" cy="0"/>
          </a:xfrm>
          <a:prstGeom prst="line">
            <a:avLst/>
          </a:prstGeom>
          <a:ln>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29464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0BCD5-C885-479E-A5CD-4053A419E1EB}"/>
              </a:ext>
            </a:extLst>
          </p:cNvPr>
          <p:cNvSpPr>
            <a:spLocks noGrp="1"/>
          </p:cNvSpPr>
          <p:nvPr>
            <p:ph type="title"/>
          </p:nvPr>
        </p:nvSpPr>
        <p:spPr/>
        <p:txBody>
          <a:bodyPr/>
          <a:lstStyle/>
          <a:p>
            <a:r>
              <a:rPr lang="en-US"/>
              <a:t>Click to edit Master title style</a:t>
            </a:r>
          </a:p>
        </p:txBody>
      </p:sp>
      <p:pic>
        <p:nvPicPr>
          <p:cNvPr id="13" name="Picture 2">
            <a:extLst>
              <a:ext uri="{FF2B5EF4-FFF2-40B4-BE49-F238E27FC236}">
                <a16:creationId xmlns:a16="http://schemas.microsoft.com/office/drawing/2014/main" id="{DF9BAD82-F601-4D35-BD72-0F3792C4A72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35000"/>
            <a:extLst>
              <a:ext uri="{28A0092B-C50C-407E-A947-70E740481C1C}">
                <a14:useLocalDpi xmlns:a14="http://schemas.microsoft.com/office/drawing/2010/main" val="0"/>
              </a:ext>
            </a:extLst>
          </a:blip>
          <a:srcRect/>
          <a:stretch/>
        </p:blipFill>
        <p:spPr bwMode="auto">
          <a:xfrm>
            <a:off x="-13148" y="0"/>
            <a:ext cx="12205148" cy="687088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1355FBC2-622D-44FE-ADD2-F9BDAC6C62AC}"/>
              </a:ext>
              <a:ext uri="{C183D7F6-B498-43B3-948B-1728B52AA6E4}">
                <adec:decorative xmlns:adec="http://schemas.microsoft.com/office/drawing/2017/decorative" val="1"/>
              </a:ext>
            </a:extLst>
          </p:cNvPr>
          <p:cNvSpPr/>
          <p:nvPr userDrawn="1"/>
        </p:nvSpPr>
        <p:spPr bwMode="auto">
          <a:xfrm>
            <a:off x="-13148" y="4870618"/>
            <a:ext cx="12205148" cy="2000265"/>
          </a:xfrm>
          <a:prstGeom prst="rect">
            <a:avLst/>
          </a:prstGeom>
          <a:gradFill flip="none" rotWithShape="1">
            <a:gsLst>
              <a:gs pos="44000">
                <a:schemeClr val="tx1">
                  <a:alpha val="87000"/>
                </a:schemeClr>
              </a:gs>
              <a:gs pos="100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E18D1D33-E8EE-4E24-AEF7-44E15226EEC9}"/>
              </a:ext>
              <a:ext uri="{C183D7F6-B498-43B3-948B-1728B52AA6E4}">
                <adec:decorative xmlns:adec="http://schemas.microsoft.com/office/drawing/2017/decorative" val="1"/>
              </a:ext>
            </a:extLst>
          </p:cNvPr>
          <p:cNvSpPr/>
          <p:nvPr userDrawn="1"/>
        </p:nvSpPr>
        <p:spPr bwMode="auto">
          <a:xfrm>
            <a:off x="7336" y="-118593"/>
            <a:ext cx="12191999" cy="5634507"/>
          </a:xfrm>
          <a:prstGeom prst="rect">
            <a:avLst/>
          </a:prstGeom>
          <a:gradFill flip="none" rotWithShape="1">
            <a:gsLst>
              <a:gs pos="29000">
                <a:schemeClr val="tx1">
                  <a:alpha val="8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Content Placeholder 5">
            <a:extLst>
              <a:ext uri="{FF2B5EF4-FFF2-40B4-BE49-F238E27FC236}">
                <a16:creationId xmlns:a16="http://schemas.microsoft.com/office/drawing/2014/main" id="{EC32F4A4-6CD7-4B60-A3F9-0A04947E55CA}"/>
              </a:ext>
            </a:extLst>
          </p:cNvPr>
          <p:cNvSpPr>
            <a:spLocks noGrp="1"/>
          </p:cNvSpPr>
          <p:nvPr>
            <p:ph sz="quarter" idx="10"/>
          </p:nvPr>
        </p:nvSpPr>
        <p:spPr>
          <a:xfrm>
            <a:off x="574675" y="1335088"/>
            <a:ext cx="2271713" cy="353045"/>
          </a:xfrm>
        </p:spPr>
        <p:txBody>
          <a:bodyPr/>
          <a:lstStyle/>
          <a:p>
            <a:pPr lvl="0"/>
            <a:r>
              <a:rPr lang="en-US"/>
              <a:t>Click to</a:t>
            </a:r>
          </a:p>
        </p:txBody>
      </p:sp>
      <p:sp>
        <p:nvSpPr>
          <p:cNvPr id="8" name="Content Placeholder 7">
            <a:extLst>
              <a:ext uri="{FF2B5EF4-FFF2-40B4-BE49-F238E27FC236}">
                <a16:creationId xmlns:a16="http://schemas.microsoft.com/office/drawing/2014/main" id="{A3A4358A-C333-48D7-B8C2-1120533F9B1C}"/>
              </a:ext>
            </a:extLst>
          </p:cNvPr>
          <p:cNvSpPr>
            <a:spLocks noGrp="1"/>
          </p:cNvSpPr>
          <p:nvPr>
            <p:ph sz="quarter" idx="11"/>
          </p:nvPr>
        </p:nvSpPr>
        <p:spPr>
          <a:xfrm>
            <a:off x="688975" y="1870075"/>
            <a:ext cx="2271713" cy="352425"/>
          </a:xfrm>
        </p:spPr>
        <p:txBody>
          <a:bodyPr/>
          <a:lstStyle/>
          <a:p>
            <a:pPr lvl="0"/>
            <a:r>
              <a:rPr lang="en-US"/>
              <a:t>Click to</a:t>
            </a:r>
          </a:p>
        </p:txBody>
      </p:sp>
      <p:sp>
        <p:nvSpPr>
          <p:cNvPr id="10" name="Content Placeholder 9">
            <a:extLst>
              <a:ext uri="{FF2B5EF4-FFF2-40B4-BE49-F238E27FC236}">
                <a16:creationId xmlns:a16="http://schemas.microsoft.com/office/drawing/2014/main" id="{E92E221B-CBC8-4808-8208-8FFF06AD1F3E}"/>
              </a:ext>
            </a:extLst>
          </p:cNvPr>
          <p:cNvSpPr>
            <a:spLocks noGrp="1"/>
          </p:cNvSpPr>
          <p:nvPr>
            <p:ph sz="quarter" idx="12"/>
          </p:nvPr>
        </p:nvSpPr>
        <p:spPr>
          <a:xfrm>
            <a:off x="574675" y="2506663"/>
            <a:ext cx="2003425" cy="352425"/>
          </a:xfrm>
        </p:spPr>
        <p:txBody>
          <a:bodyPr/>
          <a:lstStyle/>
          <a:p>
            <a:pPr lvl="0"/>
            <a:r>
              <a:rPr lang="en-US"/>
              <a:t>Click to</a:t>
            </a:r>
          </a:p>
        </p:txBody>
      </p:sp>
      <p:sp>
        <p:nvSpPr>
          <p:cNvPr id="12" name="Content Placeholder 11">
            <a:extLst>
              <a:ext uri="{FF2B5EF4-FFF2-40B4-BE49-F238E27FC236}">
                <a16:creationId xmlns:a16="http://schemas.microsoft.com/office/drawing/2014/main" id="{454B9C86-74C4-4509-9782-D2F05AC092FA}"/>
              </a:ext>
            </a:extLst>
          </p:cNvPr>
          <p:cNvSpPr>
            <a:spLocks noGrp="1"/>
          </p:cNvSpPr>
          <p:nvPr>
            <p:ph sz="quarter" idx="13"/>
          </p:nvPr>
        </p:nvSpPr>
        <p:spPr>
          <a:xfrm>
            <a:off x="427038" y="3122613"/>
            <a:ext cx="1895475" cy="353045"/>
          </a:xfrm>
        </p:spPr>
        <p:txBody>
          <a:bodyPr/>
          <a:lstStyle/>
          <a:p>
            <a:pPr lvl="0"/>
            <a:r>
              <a:rPr lang="en-US"/>
              <a:t>Click to</a:t>
            </a:r>
          </a:p>
        </p:txBody>
      </p:sp>
      <p:sp>
        <p:nvSpPr>
          <p:cNvPr id="14" name="Content Placeholder 13">
            <a:extLst>
              <a:ext uri="{FF2B5EF4-FFF2-40B4-BE49-F238E27FC236}">
                <a16:creationId xmlns:a16="http://schemas.microsoft.com/office/drawing/2014/main" id="{40EE14F6-F769-4DDA-A219-DCBE928F6F43}"/>
              </a:ext>
            </a:extLst>
          </p:cNvPr>
          <p:cNvSpPr>
            <a:spLocks noGrp="1"/>
          </p:cNvSpPr>
          <p:nvPr>
            <p:ph sz="quarter" idx="14"/>
          </p:nvPr>
        </p:nvSpPr>
        <p:spPr>
          <a:xfrm>
            <a:off x="688975" y="3708400"/>
            <a:ext cx="2157413" cy="353045"/>
          </a:xfrm>
        </p:spPr>
        <p:txBody>
          <a:bodyPr/>
          <a:lstStyle/>
          <a:p>
            <a:pPr lvl="0"/>
            <a:r>
              <a:rPr lang="en-US"/>
              <a:t>Click to</a:t>
            </a:r>
          </a:p>
        </p:txBody>
      </p:sp>
      <p:sp>
        <p:nvSpPr>
          <p:cNvPr id="16" name="Content Placeholder 15">
            <a:extLst>
              <a:ext uri="{FF2B5EF4-FFF2-40B4-BE49-F238E27FC236}">
                <a16:creationId xmlns:a16="http://schemas.microsoft.com/office/drawing/2014/main" id="{16D76C24-E045-4A9C-A014-AF51A6B75401}"/>
              </a:ext>
            </a:extLst>
          </p:cNvPr>
          <p:cNvSpPr>
            <a:spLocks noGrp="1"/>
          </p:cNvSpPr>
          <p:nvPr>
            <p:ph sz="quarter" idx="15"/>
          </p:nvPr>
        </p:nvSpPr>
        <p:spPr>
          <a:xfrm>
            <a:off x="3924300" y="1335088"/>
            <a:ext cx="1982788" cy="353045"/>
          </a:xfrm>
        </p:spPr>
        <p:txBody>
          <a:bodyPr/>
          <a:lstStyle/>
          <a:p>
            <a:pPr lvl="0"/>
            <a:r>
              <a:rPr lang="en-US"/>
              <a:t>Click to</a:t>
            </a:r>
          </a:p>
        </p:txBody>
      </p:sp>
      <p:sp>
        <p:nvSpPr>
          <p:cNvPr id="18" name="Content Placeholder 17">
            <a:extLst>
              <a:ext uri="{FF2B5EF4-FFF2-40B4-BE49-F238E27FC236}">
                <a16:creationId xmlns:a16="http://schemas.microsoft.com/office/drawing/2014/main" id="{A556CAEA-3764-41C7-A8FC-275B14013667}"/>
              </a:ext>
            </a:extLst>
          </p:cNvPr>
          <p:cNvSpPr>
            <a:spLocks noGrp="1"/>
          </p:cNvSpPr>
          <p:nvPr>
            <p:ph sz="quarter" idx="16"/>
          </p:nvPr>
        </p:nvSpPr>
        <p:spPr>
          <a:xfrm>
            <a:off x="3492500" y="1870075"/>
            <a:ext cx="2414588" cy="352425"/>
          </a:xfrm>
        </p:spPr>
        <p:txBody>
          <a:bodyPr/>
          <a:lstStyle/>
          <a:p>
            <a:pPr lvl="0"/>
            <a:r>
              <a:rPr lang="en-US"/>
              <a:t>Click to</a:t>
            </a:r>
          </a:p>
        </p:txBody>
      </p:sp>
      <p:sp>
        <p:nvSpPr>
          <p:cNvPr id="20" name="Content Placeholder 19">
            <a:extLst>
              <a:ext uri="{FF2B5EF4-FFF2-40B4-BE49-F238E27FC236}">
                <a16:creationId xmlns:a16="http://schemas.microsoft.com/office/drawing/2014/main" id="{9D24680C-D4C2-44B0-AD52-5F9EEF2A394D}"/>
              </a:ext>
            </a:extLst>
          </p:cNvPr>
          <p:cNvSpPr>
            <a:spLocks noGrp="1"/>
          </p:cNvSpPr>
          <p:nvPr>
            <p:ph sz="quarter" idx="17"/>
          </p:nvPr>
        </p:nvSpPr>
        <p:spPr>
          <a:xfrm>
            <a:off x="3606800" y="2311400"/>
            <a:ext cx="2300288" cy="353045"/>
          </a:xfrm>
        </p:spPr>
        <p:txBody>
          <a:bodyPr/>
          <a:lstStyle/>
          <a:p>
            <a:pPr lvl="0"/>
            <a:r>
              <a:rPr lang="en-US"/>
              <a:t>Click to</a:t>
            </a:r>
          </a:p>
        </p:txBody>
      </p:sp>
      <p:sp>
        <p:nvSpPr>
          <p:cNvPr id="22" name="Content Placeholder 21">
            <a:extLst>
              <a:ext uri="{FF2B5EF4-FFF2-40B4-BE49-F238E27FC236}">
                <a16:creationId xmlns:a16="http://schemas.microsoft.com/office/drawing/2014/main" id="{5234F847-147A-41F0-9E8F-C157CF634105}"/>
              </a:ext>
            </a:extLst>
          </p:cNvPr>
          <p:cNvSpPr>
            <a:spLocks noGrp="1"/>
          </p:cNvSpPr>
          <p:nvPr>
            <p:ph sz="quarter" idx="18"/>
          </p:nvPr>
        </p:nvSpPr>
        <p:spPr>
          <a:xfrm>
            <a:off x="3708400" y="2859088"/>
            <a:ext cx="2198688" cy="353045"/>
          </a:xfrm>
        </p:spPr>
        <p:txBody>
          <a:bodyPr/>
          <a:lstStyle/>
          <a:p>
            <a:pPr lvl="0"/>
            <a:r>
              <a:rPr lang="en-US"/>
              <a:t>Click to</a:t>
            </a:r>
          </a:p>
        </p:txBody>
      </p:sp>
      <p:sp>
        <p:nvSpPr>
          <p:cNvPr id="24" name="Content Placeholder 23">
            <a:extLst>
              <a:ext uri="{FF2B5EF4-FFF2-40B4-BE49-F238E27FC236}">
                <a16:creationId xmlns:a16="http://schemas.microsoft.com/office/drawing/2014/main" id="{D10F813B-017E-4C8C-BEA4-A730BAC1B5E3}"/>
              </a:ext>
            </a:extLst>
          </p:cNvPr>
          <p:cNvSpPr>
            <a:spLocks noGrp="1"/>
          </p:cNvSpPr>
          <p:nvPr>
            <p:ph sz="quarter" idx="19"/>
          </p:nvPr>
        </p:nvSpPr>
        <p:spPr>
          <a:xfrm>
            <a:off x="3492500" y="3429000"/>
            <a:ext cx="2198688" cy="353045"/>
          </a:xfrm>
        </p:spPr>
        <p:txBody>
          <a:bodyPr/>
          <a:lstStyle/>
          <a:p>
            <a:pPr lvl="0"/>
            <a:r>
              <a:rPr lang="en-US"/>
              <a:t>Click to</a:t>
            </a:r>
          </a:p>
        </p:txBody>
      </p:sp>
    </p:spTree>
    <p:extLst>
      <p:ext uri="{BB962C8B-B14F-4D97-AF65-F5344CB8AC3E}">
        <p14:creationId xmlns:p14="http://schemas.microsoft.com/office/powerpoint/2010/main" val="101488090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2/13/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7331866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5BC8CD6-D3B0-4838-AA7C-B12335CE57C3}"/>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75820" cy="6858000"/>
          </a:xfrm>
          <a:prstGeom prst="rect">
            <a:avLst/>
          </a:prstGeom>
        </p:spPr>
      </p:pic>
      <p:sp>
        <p:nvSpPr>
          <p:cNvPr id="17" name="Rectangle 16">
            <a:extLst>
              <a:ext uri="{FF2B5EF4-FFF2-40B4-BE49-F238E27FC236}">
                <a16:creationId xmlns:a16="http://schemas.microsoft.com/office/drawing/2014/main" id="{BFC8B390-597D-45B4-9C57-B02B70587B7B}"/>
              </a:ext>
              <a:ext uri="{C183D7F6-B498-43B3-948B-1728B52AA6E4}">
                <adec:decorative xmlns:adec="http://schemas.microsoft.com/office/drawing/2017/decorative" val="1"/>
              </a:ext>
            </a:extLst>
          </p:cNvPr>
          <p:cNvSpPr/>
          <p:nvPr userDrawn="1"/>
        </p:nvSpPr>
        <p:spPr bwMode="auto">
          <a:xfrm>
            <a:off x="0" y="0"/>
            <a:ext cx="11052699" cy="6858000"/>
          </a:xfrm>
          <a:prstGeom prst="rect">
            <a:avLst/>
          </a:prstGeom>
          <a:gradFill flip="none" rotWithShape="1">
            <a:gsLst>
              <a:gs pos="51000">
                <a:schemeClr val="tx1"/>
              </a:gs>
              <a:gs pos="69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07FA14BE-D539-4C56-9A6A-0FB25AB45F49}"/>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F39FC490-6165-490B-AB18-7728FF5416BE}"/>
              </a:ext>
            </a:extLst>
          </p:cNvPr>
          <p:cNvSpPr>
            <a:spLocks noGrp="1"/>
          </p:cNvSpPr>
          <p:nvPr>
            <p:ph sz="quarter" idx="10"/>
          </p:nvPr>
        </p:nvSpPr>
        <p:spPr>
          <a:xfrm>
            <a:off x="427038" y="1308100"/>
            <a:ext cx="26717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4CB2195-E6BB-4559-AD9A-90F4629E45A0}"/>
              </a:ext>
            </a:extLst>
          </p:cNvPr>
          <p:cNvSpPr>
            <a:spLocks noGrp="1"/>
          </p:cNvSpPr>
          <p:nvPr>
            <p:ph sz="quarter" idx="11"/>
          </p:nvPr>
        </p:nvSpPr>
        <p:spPr>
          <a:xfrm>
            <a:off x="546100" y="1841500"/>
            <a:ext cx="2671763"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357EE43F-CFD9-41C4-BF82-DF57194F56F1}"/>
              </a:ext>
            </a:extLst>
          </p:cNvPr>
          <p:cNvSpPr>
            <a:spLocks noGrp="1"/>
          </p:cNvSpPr>
          <p:nvPr>
            <p:ph sz="quarter" idx="12"/>
          </p:nvPr>
        </p:nvSpPr>
        <p:spPr>
          <a:xfrm>
            <a:off x="546100" y="2527300"/>
            <a:ext cx="2552700"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75872B3-1C83-4CC7-B691-C2A70FE693F7}"/>
              </a:ext>
            </a:extLst>
          </p:cNvPr>
          <p:cNvSpPr>
            <a:spLocks noGrp="1"/>
          </p:cNvSpPr>
          <p:nvPr>
            <p:ph sz="quarter" idx="13"/>
          </p:nvPr>
        </p:nvSpPr>
        <p:spPr>
          <a:xfrm>
            <a:off x="660400" y="3213100"/>
            <a:ext cx="2946400" cy="353045"/>
          </a:xfrm>
        </p:spPr>
        <p:txBody>
          <a:bodyPr/>
          <a:lstStyle/>
          <a:p>
            <a:pPr lvl="0"/>
            <a:r>
              <a:rPr lang="en-US"/>
              <a:t>Click to edit Master</a:t>
            </a:r>
          </a:p>
        </p:txBody>
      </p:sp>
    </p:spTree>
    <p:extLst>
      <p:ext uri="{BB962C8B-B14F-4D97-AF65-F5344CB8AC3E}">
        <p14:creationId xmlns:p14="http://schemas.microsoft.com/office/powerpoint/2010/main" val="3486787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26EA66-6CBA-4D83-82B5-E195B1DABA33}"/>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E8FFF05C-3EF1-441F-AC10-C62A7F4774BA}"/>
              </a:ext>
            </a:extLst>
          </p:cNvPr>
          <p:cNvSpPr>
            <a:spLocks noGrp="1"/>
          </p:cNvSpPr>
          <p:nvPr>
            <p:ph sz="quarter" idx="10"/>
          </p:nvPr>
        </p:nvSpPr>
        <p:spPr>
          <a:xfrm>
            <a:off x="427038" y="1325563"/>
            <a:ext cx="3138487"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EAFFC08E-1092-4811-9BE4-A55A7A1F4DFC}"/>
              </a:ext>
            </a:extLst>
          </p:cNvPr>
          <p:cNvSpPr>
            <a:spLocks noGrp="1"/>
          </p:cNvSpPr>
          <p:nvPr>
            <p:ph sz="quarter" idx="11"/>
          </p:nvPr>
        </p:nvSpPr>
        <p:spPr>
          <a:xfrm>
            <a:off x="503238" y="1849438"/>
            <a:ext cx="2763837"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1C8CB9C5-06B9-4797-95BF-9234AA88A080}"/>
              </a:ext>
            </a:extLst>
          </p:cNvPr>
          <p:cNvSpPr>
            <a:spLocks noGrp="1"/>
          </p:cNvSpPr>
          <p:nvPr>
            <p:ph sz="quarter" idx="12"/>
          </p:nvPr>
        </p:nvSpPr>
        <p:spPr>
          <a:xfrm>
            <a:off x="503238" y="2455863"/>
            <a:ext cx="2928937"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448811D3-D833-46DF-92BA-6DA9EAAF4D89}"/>
              </a:ext>
            </a:extLst>
          </p:cNvPr>
          <p:cNvSpPr>
            <a:spLocks noGrp="1"/>
          </p:cNvSpPr>
          <p:nvPr>
            <p:ph sz="quarter" idx="13"/>
          </p:nvPr>
        </p:nvSpPr>
        <p:spPr>
          <a:xfrm>
            <a:off x="503238" y="3051175"/>
            <a:ext cx="26717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583D3AA6-8730-4B96-8DAC-32818D990C89}"/>
              </a:ext>
            </a:extLst>
          </p:cNvPr>
          <p:cNvSpPr>
            <a:spLocks noGrp="1"/>
          </p:cNvSpPr>
          <p:nvPr>
            <p:ph sz="quarter" idx="14"/>
          </p:nvPr>
        </p:nvSpPr>
        <p:spPr>
          <a:xfrm>
            <a:off x="647700" y="3708400"/>
            <a:ext cx="2414588"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2143080A-0828-4139-87DB-A334FBBADF82}"/>
              </a:ext>
            </a:extLst>
          </p:cNvPr>
          <p:cNvSpPr>
            <a:spLocks noGrp="1"/>
          </p:cNvSpPr>
          <p:nvPr>
            <p:ph sz="quarter" idx="15"/>
          </p:nvPr>
        </p:nvSpPr>
        <p:spPr>
          <a:xfrm>
            <a:off x="4438650" y="1325563"/>
            <a:ext cx="1766888" cy="352425"/>
          </a:xfrm>
        </p:spPr>
        <p:txBody>
          <a:bodyPr/>
          <a:lstStyle/>
          <a:p>
            <a:pPr lvl="0"/>
            <a:r>
              <a:rPr lang="en-US"/>
              <a:t>Click to edit</a:t>
            </a:r>
          </a:p>
        </p:txBody>
      </p:sp>
      <p:sp>
        <p:nvSpPr>
          <p:cNvPr id="21" name="Content Placeholder 20">
            <a:extLst>
              <a:ext uri="{FF2B5EF4-FFF2-40B4-BE49-F238E27FC236}">
                <a16:creationId xmlns:a16="http://schemas.microsoft.com/office/drawing/2014/main" id="{AB15EEBB-B796-408D-9E39-AF6A83E3DA9F}"/>
              </a:ext>
            </a:extLst>
          </p:cNvPr>
          <p:cNvSpPr>
            <a:spLocks noGrp="1"/>
          </p:cNvSpPr>
          <p:nvPr>
            <p:ph sz="quarter" idx="16"/>
          </p:nvPr>
        </p:nvSpPr>
        <p:spPr>
          <a:xfrm>
            <a:off x="4243388" y="2033588"/>
            <a:ext cx="2085975" cy="353045"/>
          </a:xfrm>
        </p:spPr>
        <p:txBody>
          <a:bodyPr/>
          <a:lstStyle/>
          <a:p>
            <a:pPr lvl="0"/>
            <a:r>
              <a:rPr lang="en-US"/>
              <a:t>Click to</a:t>
            </a:r>
          </a:p>
        </p:txBody>
      </p:sp>
      <p:sp>
        <p:nvSpPr>
          <p:cNvPr id="23" name="Content Placeholder 22">
            <a:extLst>
              <a:ext uri="{FF2B5EF4-FFF2-40B4-BE49-F238E27FC236}">
                <a16:creationId xmlns:a16="http://schemas.microsoft.com/office/drawing/2014/main" id="{56834C3C-ECF1-49B8-80A9-5541B66DD119}"/>
              </a:ext>
            </a:extLst>
          </p:cNvPr>
          <p:cNvSpPr>
            <a:spLocks noGrp="1"/>
          </p:cNvSpPr>
          <p:nvPr>
            <p:ph sz="quarter" idx="17"/>
          </p:nvPr>
        </p:nvSpPr>
        <p:spPr>
          <a:xfrm>
            <a:off x="4243388" y="2455863"/>
            <a:ext cx="2085975"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EE6650BF-2932-492F-B8C4-B76E54C91D8A}"/>
              </a:ext>
            </a:extLst>
          </p:cNvPr>
          <p:cNvSpPr>
            <a:spLocks noGrp="1"/>
          </p:cNvSpPr>
          <p:nvPr>
            <p:ph sz="quarter" idx="18"/>
          </p:nvPr>
        </p:nvSpPr>
        <p:spPr>
          <a:xfrm>
            <a:off x="4243388" y="3051175"/>
            <a:ext cx="22606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26AE73C9-5FAC-4F18-AC3F-94C7224BCC5F}"/>
              </a:ext>
            </a:extLst>
          </p:cNvPr>
          <p:cNvSpPr>
            <a:spLocks noGrp="1"/>
          </p:cNvSpPr>
          <p:nvPr>
            <p:ph sz="quarter" idx="19"/>
          </p:nvPr>
        </p:nvSpPr>
        <p:spPr>
          <a:xfrm>
            <a:off x="4078288" y="3708400"/>
            <a:ext cx="2425700" cy="353045"/>
          </a:xfrm>
        </p:spPr>
        <p:txBody>
          <a:bodyPr/>
          <a:lstStyle/>
          <a:p>
            <a:pPr lvl="0"/>
            <a:r>
              <a:rPr lang="en-US"/>
              <a:t>Click to edit</a:t>
            </a:r>
          </a:p>
        </p:txBody>
      </p:sp>
      <p:grpSp>
        <p:nvGrpSpPr>
          <p:cNvPr id="28" name="data empowerment">
            <a:extLst>
              <a:ext uri="{FF2B5EF4-FFF2-40B4-BE49-F238E27FC236}">
                <a16:creationId xmlns:a16="http://schemas.microsoft.com/office/drawing/2014/main" id="{6B6F293D-6103-46D1-9FB4-5517D673E157}"/>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9" name="Rectangle 37">
              <a:extLst>
                <a:ext uri="{FF2B5EF4-FFF2-40B4-BE49-F238E27FC236}">
                  <a16:creationId xmlns:a16="http://schemas.microsoft.com/office/drawing/2014/main" id="{3190A426-C581-4D6D-A232-BB12CBCBE359}"/>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Rectangle 38">
              <a:extLst>
                <a:ext uri="{FF2B5EF4-FFF2-40B4-BE49-F238E27FC236}">
                  <a16:creationId xmlns:a16="http://schemas.microsoft.com/office/drawing/2014/main" id="{637A2DCC-473B-4AF8-905F-651317261A4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1" name="Rectangle 39">
              <a:extLst>
                <a:ext uri="{FF2B5EF4-FFF2-40B4-BE49-F238E27FC236}">
                  <a16:creationId xmlns:a16="http://schemas.microsoft.com/office/drawing/2014/main" id="{CA5E4EB1-8CFA-4460-9C79-6CB3B7EE4F8C}"/>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2" name="Rectangle 40">
              <a:extLst>
                <a:ext uri="{FF2B5EF4-FFF2-40B4-BE49-F238E27FC236}">
                  <a16:creationId xmlns:a16="http://schemas.microsoft.com/office/drawing/2014/main" id="{24C9D520-5BED-423F-9563-A3DF03188EC9}"/>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41">
              <a:extLst>
                <a:ext uri="{FF2B5EF4-FFF2-40B4-BE49-F238E27FC236}">
                  <a16:creationId xmlns:a16="http://schemas.microsoft.com/office/drawing/2014/main" id="{699C6171-80FC-466C-91BB-1E7B1AC5FDE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Oval 42">
              <a:extLst>
                <a:ext uri="{FF2B5EF4-FFF2-40B4-BE49-F238E27FC236}">
                  <a16:creationId xmlns:a16="http://schemas.microsoft.com/office/drawing/2014/main" id="{65DCEBC0-4A71-4638-B41B-327681B60F5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 name="Picture 19">
            <a:extLst>
              <a:ext uri="{FF2B5EF4-FFF2-40B4-BE49-F238E27FC236}">
                <a16:creationId xmlns:a16="http://schemas.microsoft.com/office/drawing/2014/main" id="{6FA7E008-2BF3-4425-96B7-393AC157942B}"/>
              </a:ext>
              <a:ext uri="{C183D7F6-B498-43B3-948B-1728B52AA6E4}">
                <adec:decorative xmlns:adec="http://schemas.microsoft.com/office/drawing/2017/decorative" val="1"/>
              </a:ext>
            </a:extLst>
          </p:cNvPr>
          <p:cNvPicPr>
            <a:picLocks noChangeAspect="1"/>
          </p:cNvPicPr>
          <p:nvPr userDrawn="1"/>
        </p:nvPicPr>
        <p:blipFill rotWithShape="1">
          <a:blip r:embed="rId2">
            <a:alphaModFix amt="84000"/>
            <a:extLst>
              <a:ext uri="{BEBA8EAE-BF5A-486C-A8C5-ECC9F3942E4B}">
                <a14:imgProps xmlns:a14="http://schemas.microsoft.com/office/drawing/2010/main">
                  <a14:imgLayer r:embed="rId3">
                    <a14:imgEffect>
                      <a14:colorTemperature colorTemp="6083"/>
                    </a14:imgEffect>
                    <a14:imgEffect>
                      <a14:saturation sat="201000"/>
                    </a14:imgEffect>
                  </a14:imgLayer>
                </a14:imgProps>
              </a:ext>
              <a:ext uri="{28A0092B-C50C-407E-A947-70E740481C1C}">
                <a14:useLocalDpi xmlns:a14="http://schemas.microsoft.com/office/drawing/2010/main" val="0"/>
              </a:ext>
            </a:extLst>
          </a:blip>
          <a:srcRect t="35545"/>
          <a:stretch/>
        </p:blipFill>
        <p:spPr>
          <a:xfrm>
            <a:off x="32499" y="2687548"/>
            <a:ext cx="12134413" cy="4191132"/>
          </a:xfrm>
          <a:prstGeom prst="rect">
            <a:avLst/>
          </a:prstGeom>
        </p:spPr>
      </p:pic>
    </p:spTree>
    <p:extLst>
      <p:ext uri="{BB962C8B-B14F-4D97-AF65-F5344CB8AC3E}">
        <p14:creationId xmlns:p14="http://schemas.microsoft.com/office/powerpoint/2010/main" val="1770940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2.emf"/><Relationship Id="rId5" Type="http://schemas.openxmlformats.org/officeDocument/2006/relationships/slideLayout" Target="../slideLayouts/slideLayout33.xml"/><Relationship Id="rId10"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emf"/><Relationship Id="rId5" Type="http://schemas.openxmlformats.org/officeDocument/2006/relationships/slideLayout" Target="../slideLayouts/slideLayout42.xml"/><Relationship Id="rId10" Type="http://schemas.openxmlformats.org/officeDocument/2006/relationships/theme" Target="../theme/theme4.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72.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63" Type="http://schemas.openxmlformats.org/officeDocument/2006/relationships/slideLayout" Target="../slideLayouts/slideLayout109.xml"/><Relationship Id="rId68" Type="http://schemas.openxmlformats.org/officeDocument/2006/relationships/slideLayout" Target="../slideLayouts/slideLayout114.xml"/><Relationship Id="rId16" Type="http://schemas.openxmlformats.org/officeDocument/2006/relationships/slideLayout" Target="../slideLayouts/slideLayout62.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53" Type="http://schemas.openxmlformats.org/officeDocument/2006/relationships/slideLayout" Target="../slideLayouts/slideLayout99.xml"/><Relationship Id="rId58" Type="http://schemas.openxmlformats.org/officeDocument/2006/relationships/slideLayout" Target="../slideLayouts/slideLayout104.xml"/><Relationship Id="rId74" Type="http://schemas.openxmlformats.org/officeDocument/2006/relationships/slideLayout" Target="../slideLayouts/slideLayout120.xml"/><Relationship Id="rId79" Type="http://schemas.openxmlformats.org/officeDocument/2006/relationships/slideLayout" Target="../slideLayouts/slideLayout125.xml"/><Relationship Id="rId5" Type="http://schemas.openxmlformats.org/officeDocument/2006/relationships/slideLayout" Target="../slideLayouts/slideLayout51.xml"/><Relationship Id="rId61" Type="http://schemas.openxmlformats.org/officeDocument/2006/relationships/slideLayout" Target="../slideLayouts/slideLayout107.xml"/><Relationship Id="rId82" Type="http://schemas.openxmlformats.org/officeDocument/2006/relationships/image" Target="../media/image4.png"/><Relationship Id="rId19" Type="http://schemas.openxmlformats.org/officeDocument/2006/relationships/slideLayout" Target="../slideLayouts/slideLayout6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slideLayout" Target="../slideLayouts/slideLayout102.xml"/><Relationship Id="rId64" Type="http://schemas.openxmlformats.org/officeDocument/2006/relationships/slideLayout" Target="../slideLayouts/slideLayout110.xml"/><Relationship Id="rId69" Type="http://schemas.openxmlformats.org/officeDocument/2006/relationships/slideLayout" Target="../slideLayouts/slideLayout115.xml"/><Relationship Id="rId77" Type="http://schemas.openxmlformats.org/officeDocument/2006/relationships/slideLayout" Target="../slideLayouts/slideLayout123.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80" Type="http://schemas.openxmlformats.org/officeDocument/2006/relationships/theme" Target="../theme/theme5.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59" Type="http://schemas.openxmlformats.org/officeDocument/2006/relationships/slideLayout" Target="../slideLayouts/slideLayout105.xml"/><Relationship Id="rId67" Type="http://schemas.openxmlformats.org/officeDocument/2006/relationships/slideLayout" Target="../slideLayouts/slideLayout113.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62" Type="http://schemas.openxmlformats.org/officeDocument/2006/relationships/slideLayout" Target="../slideLayouts/slideLayout108.xml"/><Relationship Id="rId70" Type="http://schemas.openxmlformats.org/officeDocument/2006/relationships/slideLayout" Target="../slideLayouts/slideLayout116.xml"/><Relationship Id="rId75" Type="http://schemas.openxmlformats.org/officeDocument/2006/relationships/slideLayout" Target="../slideLayouts/slideLayout121.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57" Type="http://schemas.openxmlformats.org/officeDocument/2006/relationships/slideLayout" Target="../slideLayouts/slideLayout103.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60" Type="http://schemas.openxmlformats.org/officeDocument/2006/relationships/slideLayout" Target="../slideLayouts/slideLayout106.xml"/><Relationship Id="rId65" Type="http://schemas.openxmlformats.org/officeDocument/2006/relationships/slideLayout" Target="../slideLayouts/slideLayout111.xml"/><Relationship Id="rId73" Type="http://schemas.openxmlformats.org/officeDocument/2006/relationships/slideLayout" Target="../slideLayouts/slideLayout119.xml"/><Relationship Id="rId78" Type="http://schemas.openxmlformats.org/officeDocument/2006/relationships/slideLayout" Target="../slideLayouts/slideLayout124.xml"/><Relationship Id="rId81" Type="http://schemas.openxmlformats.org/officeDocument/2006/relationships/image" Target="../media/image3.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34" Type="http://schemas.openxmlformats.org/officeDocument/2006/relationships/slideLayout" Target="../slideLayouts/slideLayout80.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6" Type="http://schemas.openxmlformats.org/officeDocument/2006/relationships/slideLayout" Target="../slideLayouts/slideLayout122.xml"/><Relationship Id="rId7" Type="http://schemas.openxmlformats.org/officeDocument/2006/relationships/slideLayout" Target="../slideLayouts/slideLayout53.xml"/><Relationship Id="rId71" Type="http://schemas.openxmlformats.org/officeDocument/2006/relationships/slideLayout" Target="../slideLayouts/slideLayout117.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4144499627"/>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97" r:id="rId13"/>
    <p:sldLayoutId id="2147483800" r:id="rId14"/>
    <p:sldLayoutId id="2147483801" r:id="rId15"/>
    <p:sldLayoutId id="2147483802" r:id="rId16"/>
    <p:sldLayoutId id="2147483803" r:id="rId17"/>
    <p:sldLayoutId id="2147483804" r:id="rId18"/>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84486676"/>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3327026"/>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3" r:id="rId4"/>
    <p:sldLayoutId id="2147483704" r:id="rId5"/>
    <p:sldLayoutId id="2147483705" r:id="rId6"/>
    <p:sldLayoutId id="2147483706" r:id="rId7"/>
    <p:sldLayoutId id="2147483707" r:id="rId8"/>
    <p:sldLayoutId id="2147483799"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71741789"/>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62277080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 id="2147483764" r:id="rId45"/>
    <p:sldLayoutId id="2147483765" r:id="rId46"/>
    <p:sldLayoutId id="2147483766" r:id="rId47"/>
    <p:sldLayoutId id="2147483767" r:id="rId48"/>
    <p:sldLayoutId id="2147483768" r:id="rId49"/>
    <p:sldLayoutId id="2147483769" r:id="rId50"/>
    <p:sldLayoutId id="2147483770" r:id="rId51"/>
    <p:sldLayoutId id="2147483771" r:id="rId52"/>
    <p:sldLayoutId id="2147483772" r:id="rId53"/>
    <p:sldLayoutId id="2147483773" r:id="rId54"/>
    <p:sldLayoutId id="2147483774" r:id="rId55"/>
    <p:sldLayoutId id="2147483775" r:id="rId56"/>
    <p:sldLayoutId id="2147483776" r:id="rId57"/>
    <p:sldLayoutId id="2147483777" r:id="rId58"/>
    <p:sldLayoutId id="2147483778" r:id="rId59"/>
    <p:sldLayoutId id="2147483779" r:id="rId60"/>
    <p:sldLayoutId id="2147483780" r:id="rId61"/>
    <p:sldLayoutId id="2147483781" r:id="rId62"/>
    <p:sldLayoutId id="2147483782" r:id="rId63"/>
    <p:sldLayoutId id="2147483783" r:id="rId64"/>
    <p:sldLayoutId id="2147483784" r:id="rId65"/>
    <p:sldLayoutId id="2147483785" r:id="rId66"/>
    <p:sldLayoutId id="2147483786" r:id="rId67"/>
    <p:sldLayoutId id="2147483787" r:id="rId68"/>
    <p:sldLayoutId id="2147483788" r:id="rId69"/>
    <p:sldLayoutId id="2147483789" r:id="rId70"/>
    <p:sldLayoutId id="2147483790" r:id="rId71"/>
    <p:sldLayoutId id="2147483791" r:id="rId72"/>
    <p:sldLayoutId id="2147483792" r:id="rId73"/>
    <p:sldLayoutId id="2147483793" r:id="rId74"/>
    <p:sldLayoutId id="2147483794" r:id="rId75"/>
    <p:sldLayoutId id="2147483795" r:id="rId76"/>
    <p:sldLayoutId id="2147483796" r:id="rId77"/>
    <p:sldLayoutId id="2147483797" r:id="rId78"/>
    <p:sldLayoutId id="2147483798" r:id="rId7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54.png"/><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5.xml"/><Relationship Id="rId7" Type="http://schemas.openxmlformats.org/officeDocument/2006/relationships/diagramColors" Target="../diagrams/colors5.xml"/><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notesSlide" Target="../notesSlides/notesSlide7.xml"/><Relationship Id="rId7" Type="http://schemas.openxmlformats.org/officeDocument/2006/relationships/diagramLayout" Target="../diagrams/layout6.xml"/><Relationship Id="rId2" Type="http://schemas.openxmlformats.org/officeDocument/2006/relationships/slideLayout" Target="../slideLayouts/slideLayout17.xml"/><Relationship Id="rId1" Type="http://schemas.openxmlformats.org/officeDocument/2006/relationships/tags" Target="../tags/tag4.xml"/><Relationship Id="rId6" Type="http://schemas.openxmlformats.org/officeDocument/2006/relationships/diagramData" Target="../diagrams/data6.xml"/><Relationship Id="rId5" Type="http://schemas.openxmlformats.org/officeDocument/2006/relationships/hyperlink" Target="http://www.customvision.ai/" TargetMode="External"/><Relationship Id="rId10" Type="http://schemas.microsoft.com/office/2007/relationships/diagramDrawing" Target="../diagrams/drawing6.xml"/><Relationship Id="rId4" Type="http://schemas.openxmlformats.org/officeDocument/2006/relationships/image" Target="../media/image64.png"/><Relationship Id="rId9" Type="http://schemas.openxmlformats.org/officeDocument/2006/relationships/diagramColors" Target="../diagrams/colors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58.png"/><Relationship Id="rId2" Type="http://schemas.openxmlformats.org/officeDocument/2006/relationships/diagramData" Target="../diagrams/data7.xml"/><Relationship Id="rId1" Type="http://schemas.openxmlformats.org/officeDocument/2006/relationships/slideLayout" Target="../slideLayouts/slideLayout1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diagramColors" Target="../diagrams/colors8.xml"/><Relationship Id="rId5" Type="http://schemas.openxmlformats.org/officeDocument/2006/relationships/diagramQuickStyle" Target="../diagrams/quickStyle8.xml"/><Relationship Id="rId10" Type="http://schemas.openxmlformats.org/officeDocument/2006/relationships/hyperlink" Target="https://formrecognizer.appliedai.azure.com/studio" TargetMode="External"/><Relationship Id="rId4" Type="http://schemas.openxmlformats.org/officeDocument/2006/relationships/diagramLayout" Target="../diagrams/layout8.xml"/><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9.png"/><Relationship Id="rId21" Type="http://schemas.openxmlformats.org/officeDocument/2006/relationships/image" Target="../media/image84.png"/><Relationship Id="rId7" Type="http://schemas.openxmlformats.org/officeDocument/2006/relationships/image" Target="../media/image72.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notesSlide" Target="../notesSlides/notesSlide10.xml"/><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6.xml"/><Relationship Id="rId6" Type="http://schemas.microsoft.com/office/2007/relationships/hdphoto" Target="../media/hdphoto4.wdp"/><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71.png"/><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91.png"/><Relationship Id="rId10" Type="http://schemas.microsoft.com/office/2007/relationships/hdphoto" Target="../media/hdphoto6.wdp"/><Relationship Id="rId19" Type="http://schemas.openxmlformats.org/officeDocument/2006/relationships/image" Target="../media/image82.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s>
</file>

<file path=ppt/slides/_rels/slide2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image" Target="../media/image92.png"/><Relationship Id="rId21" Type="http://schemas.openxmlformats.org/officeDocument/2006/relationships/image" Target="../media/image106.png"/><Relationship Id="rId7" Type="http://schemas.openxmlformats.org/officeDocument/2006/relationships/image" Target="../media/image93.pn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2" Type="http://schemas.openxmlformats.org/officeDocument/2006/relationships/notesSlide" Target="../notesSlides/notesSlide11.xml"/><Relationship Id="rId16" Type="http://schemas.openxmlformats.org/officeDocument/2006/relationships/image" Target="../media/image101.png"/><Relationship Id="rId20" Type="http://schemas.openxmlformats.org/officeDocument/2006/relationships/image" Target="../media/image105.png"/><Relationship Id="rId29" Type="http://schemas.openxmlformats.org/officeDocument/2006/relationships/image" Target="../media/image114.jpeg"/><Relationship Id="rId1" Type="http://schemas.openxmlformats.org/officeDocument/2006/relationships/slideLayout" Target="../slideLayouts/slideLayout18.xml"/><Relationship Id="rId6" Type="http://schemas.openxmlformats.org/officeDocument/2006/relationships/image" Target="../media/image80.png"/><Relationship Id="rId11" Type="http://schemas.openxmlformats.org/officeDocument/2006/relationships/image" Target="../media/image96.png"/><Relationship Id="rId24" Type="http://schemas.openxmlformats.org/officeDocument/2006/relationships/image" Target="../media/image109.png"/><Relationship Id="rId5" Type="http://schemas.openxmlformats.org/officeDocument/2006/relationships/image" Target="../media/image86.png"/><Relationship Id="rId15" Type="http://schemas.openxmlformats.org/officeDocument/2006/relationships/image" Target="../media/image100.png"/><Relationship Id="rId23" Type="http://schemas.openxmlformats.org/officeDocument/2006/relationships/image" Target="../media/image108.png"/><Relationship Id="rId28" Type="http://schemas.openxmlformats.org/officeDocument/2006/relationships/image" Target="../media/image113.png"/><Relationship Id="rId10" Type="http://schemas.microsoft.com/office/2007/relationships/hdphoto" Target="../media/hdphoto7.wdp"/><Relationship Id="rId19" Type="http://schemas.openxmlformats.org/officeDocument/2006/relationships/image" Target="../media/image104.png"/><Relationship Id="rId4" Type="http://schemas.openxmlformats.org/officeDocument/2006/relationships/image" Target="../media/image77.png"/><Relationship Id="rId9" Type="http://schemas.openxmlformats.org/officeDocument/2006/relationships/image" Target="../media/image95.png"/><Relationship Id="rId14" Type="http://schemas.openxmlformats.org/officeDocument/2006/relationships/image" Target="../media/image99.png"/><Relationship Id="rId22" Type="http://schemas.openxmlformats.org/officeDocument/2006/relationships/image" Target="../media/image107.png"/><Relationship Id="rId27" Type="http://schemas.openxmlformats.org/officeDocument/2006/relationships/image" Target="../media/image112.png"/><Relationship Id="rId30" Type="http://schemas.openxmlformats.org/officeDocument/2006/relationships/image" Target="../media/image115.pn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55.png"/><Relationship Id="rId2" Type="http://schemas.openxmlformats.org/officeDocument/2006/relationships/diagramData" Target="../diagrams/data9.xml"/><Relationship Id="rId1" Type="http://schemas.openxmlformats.org/officeDocument/2006/relationships/slideLayout" Target="../slideLayouts/slideLayout1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117.png"/></Relationships>
</file>

<file path=ppt/slides/_rels/slide2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32.emf"/><Relationship Id="rId7" Type="http://schemas.openxmlformats.org/officeDocument/2006/relationships/diagramLayout" Target="../diagrams/layout1.xm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diagramData" Target="../diagrams/data1.xml"/><Relationship Id="rId5" Type="http://schemas.openxmlformats.org/officeDocument/2006/relationships/image" Target="../media/image34.png"/><Relationship Id="rId10" Type="http://schemas.microsoft.com/office/2007/relationships/diagramDrawing" Target="../diagrams/drawing1.xml"/><Relationship Id="rId4" Type="http://schemas.openxmlformats.org/officeDocument/2006/relationships/image" Target="../media/image33.png"/><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jpeg"/><Relationship Id="rId10" Type="http://schemas.openxmlformats.org/officeDocument/2006/relationships/image" Target="../media/image48.sv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 Id="rId6" Type="http://schemas.openxmlformats.org/officeDocument/2006/relationships/image" Target="../media/image58.png"/><Relationship Id="rId5" Type="http://schemas.openxmlformats.org/officeDocument/2006/relationships/image" Target="../media/image57.jpe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17" Type="http://schemas.openxmlformats.org/officeDocument/2006/relationships/image" Target="../media/image58.png"/><Relationship Id="rId2" Type="http://schemas.openxmlformats.org/officeDocument/2006/relationships/notesSlide" Target="../notesSlides/notesSlide4.xml"/><Relationship Id="rId16" Type="http://schemas.openxmlformats.org/officeDocument/2006/relationships/image" Target="../media/image55.png"/><Relationship Id="rId20" Type="http://schemas.openxmlformats.org/officeDocument/2006/relationships/image" Target="../media/image57.jpeg"/><Relationship Id="rId1" Type="http://schemas.openxmlformats.org/officeDocument/2006/relationships/slideLayout" Target="../slideLayouts/slideLayout7.x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jpeg"/><Relationship Id="rId10" Type="http://schemas.openxmlformats.org/officeDocument/2006/relationships/image" Target="../media/image48.svg"/><Relationship Id="rId19" Type="http://schemas.openxmlformats.org/officeDocument/2006/relationships/image" Target="../media/image54.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t="12248" b="12248"/>
          <a:stretch/>
        </p:blipFill>
        <p:spPr>
          <a:xfrm>
            <a:off x="20" y="10"/>
            <a:ext cx="12191980" cy="6857990"/>
          </a:xfrm>
          <a:prstGeom prst="rect">
            <a:avLst/>
          </a:prstGeom>
        </p:spPr>
      </p:pic>
      <p:sp>
        <p:nvSpPr>
          <p:cNvPr id="12"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8022021" y="3231931"/>
            <a:ext cx="3852041" cy="1834056"/>
          </a:xfrm>
        </p:spPr>
        <p:txBody>
          <a:bodyPr vert="horz" lIns="91440" tIns="45720" rIns="91440" bIns="45720" rtlCol="0" anchor="b">
            <a:normAutofit/>
          </a:bodyPr>
          <a:lstStyle/>
          <a:p>
            <a:pPr algn="ctr"/>
            <a:r>
              <a:rPr lang="en-US" sz="3100" dirty="0">
                <a:solidFill>
                  <a:schemeClr val="tx1"/>
                </a:solidFill>
                <a:latin typeface="+mj-lt"/>
                <a:cs typeface="+mj-cs"/>
              </a:rPr>
              <a:t>Financial Services </a:t>
            </a:r>
            <a:br>
              <a:rPr lang="en-US" sz="3100" dirty="0">
                <a:solidFill>
                  <a:schemeClr val="tx1"/>
                </a:solidFill>
                <a:latin typeface="+mj-lt"/>
                <a:cs typeface="+mj-cs"/>
              </a:rPr>
            </a:br>
            <a:r>
              <a:rPr lang="en-US" sz="3100" dirty="0">
                <a:solidFill>
                  <a:schemeClr val="tx1"/>
                </a:solidFill>
                <a:latin typeface="+mj-lt"/>
                <a:cs typeface="+mj-cs"/>
              </a:rPr>
              <a:t>Hack to Learn  </a:t>
            </a:r>
            <a:br>
              <a:rPr lang="en-US" sz="3100" dirty="0">
                <a:solidFill>
                  <a:schemeClr val="tx1"/>
                </a:solidFill>
                <a:latin typeface="+mj-lt"/>
                <a:cs typeface="+mj-cs"/>
              </a:rPr>
            </a:br>
            <a:r>
              <a:rPr lang="en-US" sz="3100" dirty="0">
                <a:solidFill>
                  <a:schemeClr val="tx1"/>
                </a:solidFill>
                <a:latin typeface="+mj-lt"/>
                <a:cs typeface="+mj-cs"/>
              </a:rPr>
              <a:t>Insurance Claims Automation</a:t>
            </a:r>
          </a:p>
        </p:txBody>
      </p:sp>
      <p:cxnSp>
        <p:nvCxnSpPr>
          <p:cNvPr id="14" name="Straight Connector 13">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E0C5FA5A-9E4A-4237-87A9-63F95645276C}"/>
              </a:ext>
            </a:extLst>
          </p:cNvPr>
          <p:cNvSpPr txBox="1">
            <a:spLocks/>
          </p:cNvSpPr>
          <p:nvPr/>
        </p:nvSpPr>
        <p:spPr>
          <a:xfrm>
            <a:off x="182752" y="5293411"/>
            <a:ext cx="4459228" cy="1108451"/>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4000" b="0" i="0" kern="1200">
                <a:solidFill>
                  <a:schemeClr val="bg1"/>
                </a:solidFill>
                <a:latin typeface="Segoe UI Semibold" panose="020B0502040204020203" pitchFamily="34" charset="0"/>
                <a:ea typeface="+mj-ea"/>
                <a:cs typeface="Segoe UI Semibold" panose="020B0502040204020203" pitchFamily="34" charset="0"/>
              </a:defRPr>
            </a:lvl1pPr>
          </a:lstStyle>
          <a:p>
            <a:r>
              <a:rPr lang="en-US" sz="1200" dirty="0">
                <a:solidFill>
                  <a:srgbClr val="FFFFFF"/>
                </a:solidFill>
                <a:effectLst/>
                <a:latin typeface="+mn-lt"/>
              </a:rPr>
              <a:t>Cindy Mar – Director, CSU</a:t>
            </a:r>
          </a:p>
          <a:p>
            <a:r>
              <a:rPr lang="en-US" sz="1200" dirty="0">
                <a:solidFill>
                  <a:srgbClr val="FFFFFF"/>
                </a:solidFill>
                <a:effectLst/>
                <a:latin typeface="+mn-lt"/>
              </a:rPr>
              <a:t>Vipul Shah – Director, Specialist</a:t>
            </a:r>
          </a:p>
          <a:p>
            <a:r>
              <a:rPr lang="en-US" sz="1200" dirty="0" err="1">
                <a:solidFill>
                  <a:srgbClr val="FFFFFF"/>
                </a:solidFill>
                <a:effectLst/>
                <a:latin typeface="+mn-lt"/>
              </a:rPr>
              <a:t>Sivanandhan</a:t>
            </a:r>
            <a:r>
              <a:rPr lang="en-US" sz="1200" dirty="0">
                <a:solidFill>
                  <a:srgbClr val="FFFFFF"/>
                </a:solidFill>
                <a:effectLst/>
                <a:latin typeface="+mn-lt"/>
              </a:rPr>
              <a:t> </a:t>
            </a:r>
            <a:r>
              <a:rPr lang="en-US" sz="1200" dirty="0" err="1">
                <a:solidFill>
                  <a:srgbClr val="FFFFFF"/>
                </a:solidFill>
                <a:effectLst/>
                <a:latin typeface="+mn-lt"/>
              </a:rPr>
              <a:t>Paramasivam</a:t>
            </a:r>
            <a:r>
              <a:rPr lang="en-US" sz="1200" dirty="0">
                <a:solidFill>
                  <a:schemeClr val="tx1"/>
                </a:solidFill>
                <a:latin typeface="+mn-lt"/>
                <a:cs typeface="+mj-cs"/>
              </a:rPr>
              <a:t> – Data &amp; AI Specialist, Insurance</a:t>
            </a:r>
          </a:p>
          <a:p>
            <a:r>
              <a:rPr lang="en-US" sz="1200" dirty="0">
                <a:solidFill>
                  <a:schemeClr val="tx1"/>
                </a:solidFill>
                <a:latin typeface="+mn-lt"/>
                <a:cs typeface="+mj-cs"/>
              </a:rPr>
              <a:t>Kapil </a:t>
            </a:r>
            <a:r>
              <a:rPr lang="en-US" sz="1200" dirty="0" err="1">
                <a:solidFill>
                  <a:schemeClr val="tx1"/>
                </a:solidFill>
                <a:latin typeface="+mn-lt"/>
                <a:cs typeface="+mj-cs"/>
              </a:rPr>
              <a:t>Dhanger</a:t>
            </a:r>
            <a:r>
              <a:rPr lang="en-US" sz="1200" dirty="0">
                <a:solidFill>
                  <a:schemeClr val="tx1"/>
                </a:solidFill>
                <a:latin typeface="+mn-lt"/>
                <a:cs typeface="+mj-cs"/>
              </a:rPr>
              <a:t> – Cloud Solution Architect – Data &amp; AI</a:t>
            </a:r>
          </a:p>
          <a:p>
            <a:r>
              <a:rPr lang="en-US" sz="1200" dirty="0">
                <a:solidFill>
                  <a:schemeClr val="tx1"/>
                </a:solidFill>
                <a:latin typeface="+mn-lt"/>
                <a:cs typeface="+mj-cs"/>
              </a:rPr>
              <a:t>Pratima </a:t>
            </a:r>
            <a:r>
              <a:rPr lang="en-US" sz="1200" dirty="0" err="1">
                <a:solidFill>
                  <a:schemeClr val="tx1"/>
                </a:solidFill>
                <a:latin typeface="+mn-lt"/>
                <a:cs typeface="+mj-cs"/>
              </a:rPr>
              <a:t>Valavala</a:t>
            </a:r>
            <a:r>
              <a:rPr lang="en-US" sz="1200" dirty="0">
                <a:solidFill>
                  <a:schemeClr val="tx1"/>
                </a:solidFill>
                <a:latin typeface="+mn-lt"/>
                <a:cs typeface="+mj-cs"/>
              </a:rPr>
              <a:t> - Cloud Solution Architect – Data &amp; AI</a:t>
            </a:r>
          </a:p>
          <a:p>
            <a:r>
              <a:rPr lang="en-US" sz="1200" dirty="0">
                <a:solidFill>
                  <a:schemeClr val="tx1"/>
                </a:solidFill>
                <a:latin typeface="+mn-lt"/>
                <a:cs typeface="+mj-cs"/>
              </a:rPr>
              <a:t>Ashish Talati – Cloud Solution Architect – Data &amp; AI</a:t>
            </a:r>
          </a:p>
        </p:txBody>
      </p:sp>
    </p:spTree>
    <p:extLst>
      <p:ext uri="{BB962C8B-B14F-4D97-AF65-F5344CB8AC3E}">
        <p14:creationId xmlns:p14="http://schemas.microsoft.com/office/powerpoint/2010/main" val="1586891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D496478E-325E-44D8-90F4-D990529F60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0762" y="2599213"/>
            <a:ext cx="1659574" cy="16595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615053544"/>
              </p:ext>
            </p:extLst>
          </p:nvPr>
        </p:nvGraphicFramePr>
        <p:xfrm>
          <a:off x="3533725" y="2222804"/>
          <a:ext cx="8503103" cy="27659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D46DBC0-095D-4208-913C-4F8401EE9891}"/>
              </a:ext>
            </a:extLst>
          </p:cNvPr>
          <p:cNvSpPr txBox="1"/>
          <p:nvPr/>
        </p:nvSpPr>
        <p:spPr>
          <a:xfrm>
            <a:off x="1264667" y="4495419"/>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t. time 15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1 </a:t>
            </a:r>
          </a:p>
        </p:txBody>
      </p:sp>
    </p:spTree>
    <p:extLst>
      <p:ext uri="{BB962C8B-B14F-4D97-AF65-F5344CB8AC3E}">
        <p14:creationId xmlns:p14="http://schemas.microsoft.com/office/powerpoint/2010/main" val="140152058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0BAE95F-FBCE-4813-857B-6C64571D27A6}"/>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Before you throw your hat </a:t>
            </a:r>
          </a:p>
        </p:txBody>
      </p:sp>
      <p:pic>
        <p:nvPicPr>
          <p:cNvPr id="5122" name="Picture 2" descr="Slow, Proceed With Caution Sign">
            <a:extLst>
              <a:ext uri="{FF2B5EF4-FFF2-40B4-BE49-F238E27FC236}">
                <a16:creationId xmlns:a16="http://schemas.microsoft.com/office/drawing/2014/main" id="{DB5BEDE5-9619-4DC5-80E4-51512E9679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007" r="16082"/>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BFF9EAE-4EDC-422D-AEC9-6C81D457E603}"/>
              </a:ext>
            </a:extLst>
          </p:cNvPr>
          <p:cNvSpPr txBox="1"/>
          <p:nvPr/>
        </p:nvSpPr>
        <p:spPr>
          <a:xfrm>
            <a:off x="5297762" y="2706624"/>
            <a:ext cx="6251110" cy="3483864"/>
          </a:xfrm>
          <a:prstGeom prst="rect">
            <a:avLst/>
          </a:prstGeom>
        </p:spPr>
        <p:txBody>
          <a:bodyPr vert="horz" lIns="91440" tIns="45720" rIns="91440" bIns="45720" rtlCol="0">
            <a:normAutofit/>
          </a:bodyPr>
          <a:lstStyle/>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the output artifacts on the group chat</a:t>
            </a:r>
          </a:p>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any open questions on the chat</a:t>
            </a:r>
          </a:p>
        </p:txBody>
      </p:sp>
    </p:spTree>
    <p:extLst>
      <p:ext uri="{BB962C8B-B14F-4D97-AF65-F5344CB8AC3E}">
        <p14:creationId xmlns:p14="http://schemas.microsoft.com/office/powerpoint/2010/main" val="18548903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a:solidFill>
                  <a:schemeClr val="tx1"/>
                </a:solidFill>
                <a:latin typeface="+mj-lt"/>
                <a:ea typeface="+mj-ea"/>
                <a:cs typeface="+mj-cs"/>
              </a:rPr>
              <a:t>Introduction to custom vision</a:t>
            </a:r>
          </a:p>
        </p:txBody>
      </p:sp>
      <p:sp>
        <p:nvSpPr>
          <p:cNvPr id="10"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1C7331E-5929-446A-AFDF-B621864EBCC8}"/>
              </a:ext>
            </a:extLst>
          </p:cNvPr>
          <p:cNvSpPr txBox="1"/>
          <p:nvPr/>
        </p:nvSpPr>
        <p:spPr>
          <a:xfrm>
            <a:off x="1045028" y="3017522"/>
            <a:ext cx="9941319" cy="3124658"/>
          </a:xfrm>
          <a:prstGeom prst="rect">
            <a:avLst/>
          </a:prstGeom>
        </p:spPr>
        <p:txBody>
          <a:bodyPr vert="horz" lIns="91440" tIns="45720" rIns="91440" bIns="45720" rtlCol="0" anchor="ctr">
            <a:normAutofit/>
          </a:bodyPr>
          <a:lstStyle/>
          <a:p>
            <a:pPr marL="342900" indent="-228600">
              <a:lnSpc>
                <a:spcPct val="90000"/>
              </a:lnSpc>
              <a:spcAft>
                <a:spcPts val="600"/>
              </a:spcAft>
              <a:buFont typeface="Arial" panose="020B0604020202020204" pitchFamily="34" charset="0"/>
              <a:buChar char="•"/>
            </a:pPr>
            <a:endParaRPr lang="en-US" sz="2200"/>
          </a:p>
        </p:txBody>
      </p:sp>
    </p:spTree>
    <p:extLst>
      <p:ext uri="{BB962C8B-B14F-4D97-AF65-F5344CB8AC3E}">
        <p14:creationId xmlns:p14="http://schemas.microsoft.com/office/powerpoint/2010/main" val="9194150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7">
            <a:extLst>
              <a:ext uri="{FF2B5EF4-FFF2-40B4-BE49-F238E27FC236}">
                <a16:creationId xmlns:a16="http://schemas.microsoft.com/office/drawing/2014/main" id="{01FAEAF7-5BD4-4D8B-B1D5-B65550763E6A}"/>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omputer Vision</a:t>
            </a:r>
          </a:p>
        </p:txBody>
      </p:sp>
      <p:graphicFrame>
        <p:nvGraphicFramePr>
          <p:cNvPr id="12" name="Diagram 11">
            <a:extLst>
              <a:ext uri="{FF2B5EF4-FFF2-40B4-BE49-F238E27FC236}">
                <a16:creationId xmlns:a16="http://schemas.microsoft.com/office/drawing/2014/main" id="{46C8C96A-331B-4623-BDF9-4285387DCC74}"/>
              </a:ext>
            </a:extLst>
          </p:cNvPr>
          <p:cNvGraphicFramePr/>
          <p:nvPr>
            <p:extLst>
              <p:ext uri="{D42A27DB-BD31-4B8C-83A1-F6EECF244321}">
                <p14:modId xmlns:p14="http://schemas.microsoft.com/office/powerpoint/2010/main" val="2168572533"/>
              </p:ext>
            </p:extLst>
          </p:nvPr>
        </p:nvGraphicFramePr>
        <p:xfrm>
          <a:off x="506858" y="2326678"/>
          <a:ext cx="11178283" cy="30694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653221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graphicEl>
                                              <a:dgm id="{5D473413-7824-4B43-B18D-EBA14B1BB726}"/>
                                            </p:graphicEl>
                                          </p:spTgt>
                                        </p:tgtEl>
                                        <p:attrNameLst>
                                          <p:attrName>style.visibility</p:attrName>
                                        </p:attrNameLst>
                                      </p:cBhvr>
                                      <p:to>
                                        <p:strVal val="visible"/>
                                      </p:to>
                                    </p:set>
                                    <p:animEffect transition="in" filter="fade">
                                      <p:cBhvr>
                                        <p:cTn id="7" dur="500"/>
                                        <p:tgtEl>
                                          <p:spTgt spid="12">
                                            <p:graphicEl>
                                              <a:dgm id="{5D473413-7824-4B43-B18D-EBA14B1BB726}"/>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graphicEl>
                                              <a:dgm id="{F9F53FAE-5248-4F34-98BE-07A9303FB799}"/>
                                            </p:graphicEl>
                                          </p:spTgt>
                                        </p:tgtEl>
                                        <p:attrNameLst>
                                          <p:attrName>style.visibility</p:attrName>
                                        </p:attrNameLst>
                                      </p:cBhvr>
                                      <p:to>
                                        <p:strVal val="visible"/>
                                      </p:to>
                                    </p:set>
                                    <p:animEffect transition="in" filter="fade">
                                      <p:cBhvr>
                                        <p:cTn id="10" dur="500"/>
                                        <p:tgtEl>
                                          <p:spTgt spid="12">
                                            <p:graphicEl>
                                              <a:dgm id="{F9F53FAE-5248-4F34-98BE-07A9303FB799}"/>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graphicEl>
                                              <a:dgm id="{11F378C6-EAF9-432A-8257-2D634B03EB7D}"/>
                                            </p:graphicEl>
                                          </p:spTgt>
                                        </p:tgtEl>
                                        <p:attrNameLst>
                                          <p:attrName>style.visibility</p:attrName>
                                        </p:attrNameLst>
                                      </p:cBhvr>
                                      <p:to>
                                        <p:strVal val="visible"/>
                                      </p:to>
                                    </p:set>
                                    <p:animEffect transition="in" filter="fade">
                                      <p:cBhvr>
                                        <p:cTn id="15" dur="500"/>
                                        <p:tgtEl>
                                          <p:spTgt spid="12">
                                            <p:graphicEl>
                                              <a:dgm id="{11F378C6-EAF9-432A-8257-2D634B03EB7D}"/>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graphicEl>
                                              <a:dgm id="{6C014FD7-4592-4B1A-AA0A-F316F9A2E474}"/>
                                            </p:graphicEl>
                                          </p:spTgt>
                                        </p:tgtEl>
                                        <p:attrNameLst>
                                          <p:attrName>style.visibility</p:attrName>
                                        </p:attrNameLst>
                                      </p:cBhvr>
                                      <p:to>
                                        <p:strVal val="visible"/>
                                      </p:to>
                                    </p:set>
                                    <p:animEffect transition="in" filter="fade">
                                      <p:cBhvr>
                                        <p:cTn id="18" dur="500"/>
                                        <p:tgtEl>
                                          <p:spTgt spid="12">
                                            <p:graphicEl>
                                              <a:dgm id="{6C014FD7-4592-4B1A-AA0A-F316F9A2E47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EDD02BD9-AFAD-403A-8F29-BEC107965B5B}"/>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omputer Vision – Read API</a:t>
            </a:r>
          </a:p>
        </p:txBody>
      </p:sp>
      <p:pic>
        <p:nvPicPr>
          <p:cNvPr id="10" name="Content Placeholder 9">
            <a:extLst>
              <a:ext uri="{FF2B5EF4-FFF2-40B4-BE49-F238E27FC236}">
                <a16:creationId xmlns:a16="http://schemas.microsoft.com/office/drawing/2014/main" id="{EBEBF3FC-7450-4149-B60B-F545EC72AB03}"/>
              </a:ext>
            </a:extLst>
          </p:cNvPr>
          <p:cNvPicPr>
            <a:picLocks noGrp="1" noChangeAspect="1"/>
          </p:cNvPicPr>
          <p:nvPr>
            <p:ph sz="quarter" idx="13"/>
          </p:nvPr>
        </p:nvPicPr>
        <p:blipFill>
          <a:blip r:embed="rId3">
            <a:duotone>
              <a:prstClr val="black"/>
              <a:schemeClr val="accent3">
                <a:tint val="45000"/>
                <a:satMod val="400000"/>
              </a:schemeClr>
            </a:duotone>
          </a:blip>
          <a:stretch>
            <a:fillRect/>
          </a:stretch>
        </p:blipFill>
        <p:spPr bwMode="auto">
          <a:xfrm>
            <a:off x="2038857" y="2541747"/>
            <a:ext cx="8114286" cy="2552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447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7">
            <a:extLst>
              <a:ext uri="{FF2B5EF4-FFF2-40B4-BE49-F238E27FC236}">
                <a16:creationId xmlns:a16="http://schemas.microsoft.com/office/drawing/2014/main" id="{01FAEAF7-5BD4-4D8B-B1D5-B65550763E6A}"/>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ustom Vision</a:t>
            </a:r>
          </a:p>
        </p:txBody>
      </p:sp>
      <p:pic>
        <p:nvPicPr>
          <p:cNvPr id="3" name="Picture 2">
            <a:extLst>
              <a:ext uri="{FF2B5EF4-FFF2-40B4-BE49-F238E27FC236}">
                <a16:creationId xmlns:a16="http://schemas.microsoft.com/office/drawing/2014/main" id="{417BFC22-720F-4684-B7A3-C176B7D8B99C}"/>
              </a:ext>
            </a:extLst>
          </p:cNvPr>
          <p:cNvPicPr>
            <a:picLocks noChangeAspect="1"/>
          </p:cNvPicPr>
          <p:nvPr/>
        </p:nvPicPr>
        <p:blipFill>
          <a:blip r:embed="rId4">
            <a:duotone>
              <a:prstClr val="black"/>
              <a:schemeClr val="accent3">
                <a:tint val="45000"/>
                <a:satMod val="400000"/>
              </a:schemeClr>
            </a:duotone>
          </a:blip>
          <a:stretch>
            <a:fillRect/>
          </a:stretch>
        </p:blipFill>
        <p:spPr>
          <a:xfrm>
            <a:off x="891822" y="1911809"/>
            <a:ext cx="7252384" cy="3599073"/>
          </a:xfrm>
          <a:prstGeom prst="rect">
            <a:avLst/>
          </a:prstGeom>
        </p:spPr>
      </p:pic>
      <p:sp>
        <p:nvSpPr>
          <p:cNvPr id="4" name="TextBox 3">
            <a:extLst>
              <a:ext uri="{FF2B5EF4-FFF2-40B4-BE49-F238E27FC236}">
                <a16:creationId xmlns:a16="http://schemas.microsoft.com/office/drawing/2014/main" id="{5DA86F1F-EF5C-4379-A5E4-8ADC2B3F5A79}"/>
              </a:ext>
            </a:extLst>
          </p:cNvPr>
          <p:cNvSpPr txBox="1"/>
          <p:nvPr/>
        </p:nvSpPr>
        <p:spPr>
          <a:xfrm>
            <a:off x="891822" y="1501422"/>
            <a:ext cx="3984978"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5"/>
              </a:rPr>
              <a:t>http://www.customvision.ai/</a:t>
            </a:r>
            <a:r>
              <a:rPr lang="en-US" sz="2000" dirty="0">
                <a:gradFill>
                  <a:gsLst>
                    <a:gs pos="2917">
                      <a:schemeClr val="tx1"/>
                    </a:gs>
                    <a:gs pos="30000">
                      <a:schemeClr val="tx1"/>
                    </a:gs>
                  </a:gsLst>
                  <a:lin ang="5400000" scaled="0"/>
                </a:gradFill>
              </a:rPr>
              <a:t> </a:t>
            </a:r>
          </a:p>
        </p:txBody>
      </p:sp>
      <p:graphicFrame>
        <p:nvGraphicFramePr>
          <p:cNvPr id="7" name="Diagram 6">
            <a:extLst>
              <a:ext uri="{FF2B5EF4-FFF2-40B4-BE49-F238E27FC236}">
                <a16:creationId xmlns:a16="http://schemas.microsoft.com/office/drawing/2014/main" id="{3FAE97AF-029A-48E2-9049-3229CF9B3891}"/>
              </a:ext>
            </a:extLst>
          </p:cNvPr>
          <p:cNvGraphicFramePr/>
          <p:nvPr>
            <p:extLst>
              <p:ext uri="{D42A27DB-BD31-4B8C-83A1-F6EECF244321}">
                <p14:modId xmlns:p14="http://schemas.microsoft.com/office/powerpoint/2010/main" val="280613331"/>
              </p:ext>
            </p:extLst>
          </p:nvPr>
        </p:nvGraphicFramePr>
        <p:xfrm>
          <a:off x="8444089" y="1647405"/>
          <a:ext cx="2698044" cy="153888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8637928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9C699EB7-EF88-4458-8780-8EF784C85A58}"/>
                                            </p:graphicEl>
                                          </p:spTgt>
                                        </p:tgtEl>
                                        <p:attrNameLst>
                                          <p:attrName>style.visibility</p:attrName>
                                        </p:attrNameLst>
                                      </p:cBhvr>
                                      <p:to>
                                        <p:strVal val="visible"/>
                                      </p:to>
                                    </p:set>
                                    <p:animEffect transition="in" filter="fade">
                                      <p:cBhvr>
                                        <p:cTn id="12" dur="500"/>
                                        <p:tgtEl>
                                          <p:spTgt spid="7">
                                            <p:graphicEl>
                                              <a:dgm id="{9C699EB7-EF88-4458-8780-8EF784C85A5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63787B05-B60E-432B-954A-BD5DF620B437}"/>
                                            </p:graphicEl>
                                          </p:spTgt>
                                        </p:tgtEl>
                                        <p:attrNameLst>
                                          <p:attrName>style.visibility</p:attrName>
                                        </p:attrNameLst>
                                      </p:cBhvr>
                                      <p:to>
                                        <p:strVal val="visible"/>
                                      </p:to>
                                    </p:set>
                                    <p:animEffect transition="in" filter="fade">
                                      <p:cBhvr>
                                        <p:cTn id="17" dur="500"/>
                                        <p:tgtEl>
                                          <p:spTgt spid="7">
                                            <p:graphicEl>
                                              <a:dgm id="{63787B05-B60E-432B-954A-BD5DF620B4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Graphic spid="7"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862870258"/>
              </p:ext>
            </p:extLst>
          </p:nvPr>
        </p:nvGraphicFramePr>
        <p:xfrm>
          <a:off x="4353844" y="1893783"/>
          <a:ext cx="7356973" cy="3102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90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2 </a:t>
            </a:r>
          </a:p>
        </p:txBody>
      </p:sp>
      <p:sp>
        <p:nvSpPr>
          <p:cNvPr id="12" name="TextBox 11">
            <a:extLst>
              <a:ext uri="{FF2B5EF4-FFF2-40B4-BE49-F238E27FC236}">
                <a16:creationId xmlns:a16="http://schemas.microsoft.com/office/drawing/2014/main" id="{C6566FB6-BA5A-48D1-BBBF-E31056708F00}"/>
              </a:ext>
            </a:extLst>
          </p:cNvPr>
          <p:cNvSpPr txBox="1"/>
          <p:nvPr/>
        </p:nvSpPr>
        <p:spPr>
          <a:xfrm>
            <a:off x="1547301" y="4230677"/>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8" name="Picture 7">
            <a:extLst>
              <a:ext uri="{FF2B5EF4-FFF2-40B4-BE49-F238E27FC236}">
                <a16:creationId xmlns:a16="http://schemas.microsoft.com/office/drawing/2014/main" id="{861EFC44-0909-4216-8223-13D012FB8731}"/>
              </a:ext>
            </a:extLst>
          </p:cNvPr>
          <p:cNvPicPr>
            <a:picLocks noChangeAspect="1"/>
          </p:cNvPicPr>
          <p:nvPr/>
        </p:nvPicPr>
        <p:blipFill>
          <a:blip r:embed="rId7"/>
          <a:stretch>
            <a:fillRect/>
          </a:stretch>
        </p:blipFill>
        <p:spPr>
          <a:xfrm>
            <a:off x="1445644" y="2762538"/>
            <a:ext cx="1933480" cy="1337399"/>
          </a:xfrm>
          <a:prstGeom prst="rect">
            <a:avLst/>
          </a:prstGeom>
        </p:spPr>
      </p:pic>
    </p:spTree>
    <p:extLst>
      <p:ext uri="{BB962C8B-B14F-4D97-AF65-F5344CB8AC3E}">
        <p14:creationId xmlns:p14="http://schemas.microsoft.com/office/powerpoint/2010/main" val="17742924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dirty="0">
                <a:solidFill>
                  <a:schemeClr val="tx1"/>
                </a:solidFill>
                <a:latin typeface="+mj-lt"/>
                <a:ea typeface="+mj-ea"/>
                <a:cs typeface="+mj-cs"/>
              </a:rPr>
              <a:t>Introduction Forms recognizer</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43513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Conteúdo 4">
            <a:extLst>
              <a:ext uri="{FF2B5EF4-FFF2-40B4-BE49-F238E27FC236}">
                <a16:creationId xmlns:a16="http://schemas.microsoft.com/office/drawing/2014/main" id="{B36036A5-72A2-4A8B-B79E-5304E92258DA}"/>
              </a:ext>
            </a:extLst>
          </p:cNvPr>
          <p:cNvSpPr>
            <a:spLocks noGrp="1"/>
          </p:cNvSpPr>
          <p:nvPr>
            <p:ph sz="quarter" idx="13"/>
          </p:nvPr>
        </p:nvSpPr>
        <p:spPr/>
        <p:txBody>
          <a:bodyPr>
            <a:normAutofit fontScale="92500" lnSpcReduction="20000"/>
          </a:bodyPr>
          <a:lstStyle/>
          <a:p>
            <a:r>
              <a:rPr lang="en-US" sz="3200" dirty="0"/>
              <a:t>Cloud-based service that uses machine-learning models to extract and analyze form fields, text, and tables from your documents.</a:t>
            </a:r>
          </a:p>
          <a:p>
            <a:endParaRPr lang="en-US" sz="3200" dirty="0"/>
          </a:p>
          <a:p>
            <a:r>
              <a:rPr lang="en-US" sz="3200" dirty="0"/>
              <a:t>It easily identifies, extracts, and analyzes the following document data:</a:t>
            </a:r>
          </a:p>
          <a:p>
            <a:pPr marL="457200" indent="-457200">
              <a:buFont typeface="Arial" panose="020B0604020202020204" pitchFamily="34" charset="0"/>
              <a:buChar char="•"/>
            </a:pPr>
            <a:r>
              <a:rPr lang="en-US" sz="3200" dirty="0"/>
              <a:t>Table structure and content</a:t>
            </a:r>
          </a:p>
          <a:p>
            <a:pPr marL="457200" indent="-457200">
              <a:buFont typeface="Arial" panose="020B0604020202020204" pitchFamily="34" charset="0"/>
              <a:buChar char="•"/>
            </a:pPr>
            <a:r>
              <a:rPr lang="en-US" sz="3200" dirty="0"/>
              <a:t>Form elements and field values</a:t>
            </a:r>
          </a:p>
          <a:p>
            <a:pPr marL="457200" indent="-457200">
              <a:buFont typeface="Arial" panose="020B0604020202020204" pitchFamily="34" charset="0"/>
              <a:buChar char="•"/>
            </a:pPr>
            <a:r>
              <a:rPr lang="en-US" sz="3200" dirty="0"/>
              <a:t>Typed and handwritten alphanumeric text</a:t>
            </a:r>
          </a:p>
          <a:p>
            <a:pPr marL="457200" indent="-457200">
              <a:buFont typeface="Arial" panose="020B0604020202020204" pitchFamily="34" charset="0"/>
              <a:buChar char="•"/>
            </a:pPr>
            <a:r>
              <a:rPr lang="en-US" sz="3200" dirty="0"/>
              <a:t>Relationships between elements</a:t>
            </a:r>
          </a:p>
          <a:p>
            <a:pPr marL="457200" indent="-457200">
              <a:buFont typeface="Arial" panose="020B0604020202020204" pitchFamily="34" charset="0"/>
              <a:buChar char="•"/>
            </a:pPr>
            <a:r>
              <a:rPr lang="en-US" sz="3200" dirty="0"/>
              <a:t>Key/value pairs</a:t>
            </a:r>
          </a:p>
          <a:p>
            <a:pPr marL="457200" indent="-457200">
              <a:buFont typeface="Arial" panose="020B0604020202020204" pitchFamily="34" charset="0"/>
              <a:buChar char="•"/>
            </a:pPr>
            <a:r>
              <a:rPr lang="en-US" sz="3200" dirty="0"/>
              <a:t>Element location with bounding box coordinates</a:t>
            </a:r>
          </a:p>
        </p:txBody>
      </p:sp>
      <p:sp>
        <p:nvSpPr>
          <p:cNvPr id="7" name="Title 7">
            <a:extLst>
              <a:ext uri="{FF2B5EF4-FFF2-40B4-BE49-F238E27FC236}">
                <a16:creationId xmlns:a16="http://schemas.microsoft.com/office/drawing/2014/main" id="{64FCCAD3-D2C6-4D64-AC8F-44BD0983A976}"/>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pPr defTabSz="914400">
              <a:lnSpc>
                <a:spcPct val="90000"/>
              </a:lnSpc>
              <a:spcAft>
                <a:spcPts val="600"/>
              </a:spcAft>
            </a:pPr>
            <a:r>
              <a:rPr lang="en-US" sz="5400" dirty="0">
                <a:ea typeface="+mj-ea"/>
                <a:cs typeface="+mj-cs"/>
              </a:rPr>
              <a:t>Azure Form Recognizer Overview</a:t>
            </a:r>
          </a:p>
        </p:txBody>
      </p:sp>
      <p:pic>
        <p:nvPicPr>
          <p:cNvPr id="1026" name="Picture 2" descr="Form Recognizer icon from the Azure portal.">
            <a:extLst>
              <a:ext uri="{FF2B5EF4-FFF2-40B4-BE49-F238E27FC236}">
                <a16:creationId xmlns:a16="http://schemas.microsoft.com/office/drawing/2014/main" id="{07D95647-2732-4EE1-8A1A-92795AB170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20313" y="4934703"/>
            <a:ext cx="1622508" cy="1622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6468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pPr defTabSz="914400">
              <a:lnSpc>
                <a:spcPct val="90000"/>
              </a:lnSpc>
              <a:spcAft>
                <a:spcPts val="600"/>
              </a:spcAft>
            </a:pPr>
            <a:r>
              <a:rPr lang="en-US" sz="4000" dirty="0">
                <a:solidFill>
                  <a:schemeClr val="tx1"/>
                </a:solidFill>
                <a:ea typeface="+mj-ea"/>
                <a:cs typeface="+mj-cs"/>
              </a:rPr>
              <a:t>Azure Applied AI Services – Azure Form Recognizer</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601579" y="1001997"/>
          <a:ext cx="3922295" cy="34650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6B0C0F19-B4B6-455F-BA4B-DA5F31B8884E}"/>
              </a:ext>
            </a:extLst>
          </p:cNvPr>
          <p:cNvPicPr>
            <a:picLocks noChangeAspect="1"/>
          </p:cNvPicPr>
          <p:nvPr/>
        </p:nvPicPr>
        <p:blipFill>
          <a:blip r:embed="rId8">
            <a:duotone>
              <a:prstClr val="black"/>
              <a:schemeClr val="accent3">
                <a:tint val="45000"/>
                <a:satMod val="400000"/>
              </a:schemeClr>
            </a:duotone>
          </a:blip>
          <a:stretch>
            <a:fillRect/>
          </a:stretch>
        </p:blipFill>
        <p:spPr>
          <a:xfrm>
            <a:off x="756494" y="4717621"/>
            <a:ext cx="4076192" cy="1719048"/>
          </a:xfrm>
          <a:prstGeom prst="rect">
            <a:avLst/>
          </a:prstGeom>
        </p:spPr>
      </p:pic>
      <p:pic>
        <p:nvPicPr>
          <p:cNvPr id="11" name="Picture 10">
            <a:extLst>
              <a:ext uri="{FF2B5EF4-FFF2-40B4-BE49-F238E27FC236}">
                <a16:creationId xmlns:a16="http://schemas.microsoft.com/office/drawing/2014/main" id="{47A2AC9B-3EDB-4238-8185-B505DF8664FC}"/>
              </a:ext>
            </a:extLst>
          </p:cNvPr>
          <p:cNvPicPr>
            <a:picLocks noChangeAspect="1"/>
          </p:cNvPicPr>
          <p:nvPr/>
        </p:nvPicPr>
        <p:blipFill>
          <a:blip r:embed="rId9">
            <a:duotone>
              <a:prstClr val="black"/>
              <a:schemeClr val="accent3">
                <a:tint val="45000"/>
                <a:satMod val="400000"/>
              </a:schemeClr>
            </a:duotone>
          </a:blip>
          <a:stretch>
            <a:fillRect/>
          </a:stretch>
        </p:blipFill>
        <p:spPr>
          <a:xfrm>
            <a:off x="4832686" y="1275348"/>
            <a:ext cx="7268732" cy="5281863"/>
          </a:xfrm>
          <a:prstGeom prst="rect">
            <a:avLst/>
          </a:prstGeom>
        </p:spPr>
      </p:pic>
      <p:sp>
        <p:nvSpPr>
          <p:cNvPr id="12" name="TextBox 11">
            <a:extLst>
              <a:ext uri="{FF2B5EF4-FFF2-40B4-BE49-F238E27FC236}">
                <a16:creationId xmlns:a16="http://schemas.microsoft.com/office/drawing/2014/main" id="{7D9364EC-ABAE-4FF3-AAB8-D06B051B8050}"/>
              </a:ext>
            </a:extLst>
          </p:cNvPr>
          <p:cNvSpPr txBox="1"/>
          <p:nvPr/>
        </p:nvSpPr>
        <p:spPr>
          <a:xfrm>
            <a:off x="4832686" y="995821"/>
            <a:ext cx="5995737" cy="246221"/>
          </a:xfrm>
          <a:prstGeom prst="rect">
            <a:avLst/>
          </a:prstGeom>
          <a:noFill/>
        </p:spPr>
        <p:txBody>
          <a:bodyPr wrap="square" lIns="0" tIns="0" rIns="0" bIns="0" rtlCol="0">
            <a:spAutoFit/>
          </a:bodyPr>
          <a:lstStyle/>
          <a:p>
            <a:pPr algn="l"/>
            <a:r>
              <a:rPr lang="en-US" sz="1600">
                <a:hlinkClick r:id="rId10"/>
              </a:rPr>
              <a:t>https://formrecognizer.appliedai.azure.com/studio</a:t>
            </a:r>
            <a:r>
              <a:rPr lang="en-US" sz="1600"/>
              <a:t> </a:t>
            </a:r>
            <a:endParaRPr lang="en-US"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22527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2" dur="500"/>
                                        <p:tgtEl>
                                          <p:spTgt spid="3">
                                            <p:graphicEl>
                                              <a:dgm id="{A7501C3A-A857-4FF3-AF87-5EA1D32D2C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C335F055-590D-456E-8542-06507028C093}"/>
              </a:ext>
            </a:extLst>
          </p:cNvPr>
          <p:cNvGraphicFramePr>
            <a:graphicFrameLocks noGrp="1"/>
          </p:cNvGraphicFramePr>
          <p:nvPr>
            <p:extLst>
              <p:ext uri="{D42A27DB-BD31-4B8C-83A1-F6EECF244321}">
                <p14:modId xmlns:p14="http://schemas.microsoft.com/office/powerpoint/2010/main" val="3151951405"/>
              </p:ext>
            </p:extLst>
          </p:nvPr>
        </p:nvGraphicFramePr>
        <p:xfrm>
          <a:off x="2249454" y="1456785"/>
          <a:ext cx="8128000" cy="1854200"/>
        </p:xfrm>
        <a:graphic>
          <a:graphicData uri="http://schemas.openxmlformats.org/drawingml/2006/table">
            <a:tbl>
              <a:tblPr firstRow="1" bandRow="1">
                <a:tableStyleId>{073A0DAA-6AF3-43AB-8588-CEC1D06C72B9}</a:tableStyleId>
              </a:tblPr>
              <a:tblGrid>
                <a:gridCol w="2583803">
                  <a:extLst>
                    <a:ext uri="{9D8B030D-6E8A-4147-A177-3AD203B41FA5}">
                      <a16:colId xmlns:a16="http://schemas.microsoft.com/office/drawing/2014/main" val="2626083643"/>
                    </a:ext>
                  </a:extLst>
                </a:gridCol>
                <a:gridCol w="5544197">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Wednesday February 15th</a:t>
                      </a:r>
                    </a:p>
                  </a:txBody>
                  <a:tcPr/>
                </a:tc>
                <a:extLst>
                  <a:ext uri="{0D108BD9-81ED-4DB2-BD59-A6C34878D82A}">
                    <a16:rowId xmlns:a16="http://schemas.microsoft.com/office/drawing/2014/main" val="1324587582"/>
                  </a:ext>
                </a:extLst>
              </a:tr>
              <a:tr h="370840">
                <a:tc>
                  <a:txBody>
                    <a:bodyPr/>
                    <a:lstStyle/>
                    <a:p>
                      <a:r>
                        <a:rPr lang="en-US" dirty="0"/>
                        <a:t>11:30AM-12:00PM EST</a:t>
                      </a:r>
                    </a:p>
                  </a:txBody>
                  <a:tcPr/>
                </a:tc>
                <a:tc>
                  <a:txBody>
                    <a:bodyPr/>
                    <a:lstStyle/>
                    <a:p>
                      <a:r>
                        <a:rPr lang="en-US" dirty="0"/>
                        <a:t>Welcome &amp; Opening Remark – Specialist</a:t>
                      </a:r>
                    </a:p>
                  </a:txBody>
                  <a:tcPr/>
                </a:tc>
                <a:extLst>
                  <a:ext uri="{0D108BD9-81ED-4DB2-BD59-A6C34878D82A}">
                    <a16:rowId xmlns:a16="http://schemas.microsoft.com/office/drawing/2014/main" val="3322868858"/>
                  </a:ext>
                </a:extLst>
              </a:tr>
              <a:tr h="370840">
                <a:tc>
                  <a:txBody>
                    <a:bodyPr/>
                    <a:lstStyle/>
                    <a:p>
                      <a:r>
                        <a:rPr lang="en-US" dirty="0"/>
                        <a:t>12:00PM-12:30PM EST</a:t>
                      </a:r>
                    </a:p>
                  </a:txBody>
                  <a:tcPr/>
                </a:tc>
                <a:tc>
                  <a:txBody>
                    <a:bodyPr/>
                    <a:lstStyle/>
                    <a:p>
                      <a:r>
                        <a:rPr lang="en-US" dirty="0"/>
                        <a:t>Industry Speakers &amp; Perspectives - </a:t>
                      </a:r>
                      <a:r>
                        <a:rPr lang="en-US" sz="1800" b="0" i="0" u="none" strike="noStrike" kern="1200" dirty="0">
                          <a:solidFill>
                            <a:schemeClr val="dk1"/>
                          </a:solidFill>
                          <a:effectLst/>
                          <a:latin typeface="+mn-lt"/>
                          <a:ea typeface="+mn-ea"/>
                          <a:cs typeface="+mn-cs"/>
                        </a:rPr>
                        <a:t>Jonathan Silverman</a:t>
                      </a:r>
                      <a:r>
                        <a:rPr lang="en-US" sz="1800" b="0" i="0" kern="1200" dirty="0">
                          <a:solidFill>
                            <a:schemeClr val="dk1"/>
                          </a:solidFill>
                          <a:effectLst/>
                          <a:latin typeface="+mn-lt"/>
                          <a:ea typeface="+mn-ea"/>
                          <a:cs typeface="+mn-cs"/>
                        </a:rPr>
                        <a:t>​</a:t>
                      </a:r>
                      <a:endParaRPr lang="en-US" dirty="0"/>
                    </a:p>
                  </a:txBody>
                  <a:tcPr/>
                </a:tc>
                <a:extLst>
                  <a:ext uri="{0D108BD9-81ED-4DB2-BD59-A6C34878D82A}">
                    <a16:rowId xmlns:a16="http://schemas.microsoft.com/office/drawing/2014/main" val="716835821"/>
                  </a:ext>
                </a:extLst>
              </a:tr>
              <a:tr h="370840">
                <a:tc>
                  <a:txBody>
                    <a:bodyPr/>
                    <a:lstStyle/>
                    <a:p>
                      <a:r>
                        <a:rPr lang="en-US" dirty="0"/>
                        <a:t>12:30PM-3:15PM EST</a:t>
                      </a:r>
                    </a:p>
                  </a:txBody>
                  <a:tcPr/>
                </a:tc>
                <a:tc>
                  <a:txBody>
                    <a:bodyPr/>
                    <a:lstStyle/>
                    <a:p>
                      <a:r>
                        <a:rPr lang="en-US" dirty="0"/>
                        <a:t>Hack-To-Learn Day 1 – Team Breakout</a:t>
                      </a:r>
                    </a:p>
                  </a:txBody>
                  <a:tcPr/>
                </a:tc>
                <a:extLst>
                  <a:ext uri="{0D108BD9-81ED-4DB2-BD59-A6C34878D82A}">
                    <a16:rowId xmlns:a16="http://schemas.microsoft.com/office/drawing/2014/main" val="3759331207"/>
                  </a:ext>
                </a:extLst>
              </a:tr>
              <a:tr h="370840">
                <a:tc>
                  <a:txBody>
                    <a:bodyPr/>
                    <a:lstStyle/>
                    <a:p>
                      <a:r>
                        <a:rPr lang="en-US" dirty="0"/>
                        <a:t>3:15PM-3:30PM EST</a:t>
                      </a:r>
                    </a:p>
                  </a:txBody>
                  <a:tcPr/>
                </a:tc>
                <a:tc>
                  <a:txBody>
                    <a:bodyPr/>
                    <a:lstStyle/>
                    <a:p>
                      <a:r>
                        <a:rPr lang="en-US" dirty="0"/>
                        <a:t>Closing - Specialist</a:t>
                      </a:r>
                    </a:p>
                  </a:txBody>
                  <a:tcPr/>
                </a:tc>
                <a:extLst>
                  <a:ext uri="{0D108BD9-81ED-4DB2-BD59-A6C34878D82A}">
                    <a16:rowId xmlns:a16="http://schemas.microsoft.com/office/drawing/2014/main" val="2603612635"/>
                  </a:ext>
                </a:extLst>
              </a:tr>
            </a:tbl>
          </a:graphicData>
        </a:graphic>
      </p:graphicFrame>
      <p:sp>
        <p:nvSpPr>
          <p:cNvPr id="5" name="TextBox 4">
            <a:extLst>
              <a:ext uri="{FF2B5EF4-FFF2-40B4-BE49-F238E27FC236}">
                <a16:creationId xmlns:a16="http://schemas.microsoft.com/office/drawing/2014/main" id="{4428DE38-A79A-42D7-B44B-47F28004EFDB}"/>
              </a:ext>
            </a:extLst>
          </p:cNvPr>
          <p:cNvSpPr txBox="1"/>
          <p:nvPr/>
        </p:nvSpPr>
        <p:spPr>
          <a:xfrm>
            <a:off x="1304212" y="291194"/>
            <a:ext cx="1001848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dirty="0">
                <a:solidFill>
                  <a:prstClr val="white"/>
                </a:solidFill>
                <a:latin typeface="Calibri" panose="020F0502020204030204"/>
              </a:rPr>
              <a:t>Agenda</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Table 2">
            <a:extLst>
              <a:ext uri="{FF2B5EF4-FFF2-40B4-BE49-F238E27FC236}">
                <a16:creationId xmlns:a16="http://schemas.microsoft.com/office/drawing/2014/main" id="{B43A077B-B7CA-4ADE-8C78-8EE316034936}"/>
              </a:ext>
            </a:extLst>
          </p:cNvPr>
          <p:cNvGraphicFramePr>
            <a:graphicFrameLocks noGrp="1"/>
          </p:cNvGraphicFramePr>
          <p:nvPr>
            <p:extLst>
              <p:ext uri="{D42A27DB-BD31-4B8C-83A1-F6EECF244321}">
                <p14:modId xmlns:p14="http://schemas.microsoft.com/office/powerpoint/2010/main" val="284248837"/>
              </p:ext>
            </p:extLst>
          </p:nvPr>
        </p:nvGraphicFramePr>
        <p:xfrm>
          <a:off x="2249454" y="4077132"/>
          <a:ext cx="7925227" cy="1483360"/>
        </p:xfrm>
        <a:graphic>
          <a:graphicData uri="http://schemas.openxmlformats.org/drawingml/2006/table">
            <a:tbl>
              <a:tblPr firstRow="1" bandRow="1">
                <a:tableStyleId>{073A0DAA-6AF3-43AB-8588-CEC1D06C72B9}</a:tableStyleId>
              </a:tblPr>
              <a:tblGrid>
                <a:gridCol w="2385695">
                  <a:extLst>
                    <a:ext uri="{9D8B030D-6E8A-4147-A177-3AD203B41FA5}">
                      <a16:colId xmlns:a16="http://schemas.microsoft.com/office/drawing/2014/main" val="2626083643"/>
                    </a:ext>
                  </a:extLst>
                </a:gridCol>
                <a:gridCol w="5539532">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Thursday February 16th</a:t>
                      </a:r>
                    </a:p>
                  </a:txBody>
                  <a:tcPr/>
                </a:tc>
                <a:extLst>
                  <a:ext uri="{0D108BD9-81ED-4DB2-BD59-A6C34878D82A}">
                    <a16:rowId xmlns:a16="http://schemas.microsoft.com/office/drawing/2014/main" val="1324587582"/>
                  </a:ext>
                </a:extLst>
              </a:tr>
              <a:tr h="370840">
                <a:tc>
                  <a:txBody>
                    <a:bodyPr/>
                    <a:lstStyle/>
                    <a:p>
                      <a:r>
                        <a:rPr lang="en-US" dirty="0"/>
                        <a:t>11:30AM-11:40AM EST</a:t>
                      </a:r>
                    </a:p>
                  </a:txBody>
                  <a:tcPr/>
                </a:tc>
                <a:tc>
                  <a:txBody>
                    <a:bodyPr/>
                    <a:lstStyle/>
                    <a:p>
                      <a:r>
                        <a:rPr lang="en-US" dirty="0"/>
                        <a:t>Welcome Back and Day 1 Recap</a:t>
                      </a:r>
                    </a:p>
                  </a:txBody>
                  <a:tcPr/>
                </a:tc>
                <a:extLst>
                  <a:ext uri="{0D108BD9-81ED-4DB2-BD59-A6C34878D82A}">
                    <a16:rowId xmlns:a16="http://schemas.microsoft.com/office/drawing/2014/main" val="3322868858"/>
                  </a:ext>
                </a:extLst>
              </a:tr>
              <a:tr h="370840">
                <a:tc>
                  <a:txBody>
                    <a:bodyPr/>
                    <a:lstStyle/>
                    <a:p>
                      <a:r>
                        <a:rPr lang="en-US" dirty="0"/>
                        <a:t>11:40AM-2:10PM EST</a:t>
                      </a:r>
                    </a:p>
                  </a:txBody>
                  <a:tcPr/>
                </a:tc>
                <a:tc>
                  <a:txBody>
                    <a:bodyPr/>
                    <a:lstStyle/>
                    <a:p>
                      <a:r>
                        <a:rPr lang="en-US" dirty="0"/>
                        <a:t>Hack-To-Learn Day 2 - Team Breakout</a:t>
                      </a:r>
                    </a:p>
                  </a:txBody>
                  <a:tcPr/>
                </a:tc>
                <a:extLst>
                  <a:ext uri="{0D108BD9-81ED-4DB2-BD59-A6C34878D82A}">
                    <a16:rowId xmlns:a16="http://schemas.microsoft.com/office/drawing/2014/main" val="716835821"/>
                  </a:ext>
                </a:extLst>
              </a:tr>
              <a:tr h="370840">
                <a:tc>
                  <a:txBody>
                    <a:bodyPr/>
                    <a:lstStyle/>
                    <a:p>
                      <a:r>
                        <a:rPr lang="en-US"/>
                        <a:t>2:10PM-2:30PM </a:t>
                      </a:r>
                      <a:r>
                        <a:rPr lang="en-US" dirty="0"/>
                        <a:t>EST</a:t>
                      </a:r>
                    </a:p>
                  </a:txBody>
                  <a:tcPr/>
                </a:tc>
                <a:tc>
                  <a:txBody>
                    <a:bodyPr/>
                    <a:lstStyle/>
                    <a:p>
                      <a:r>
                        <a:rPr lang="en-US" dirty="0"/>
                        <a:t>Closing &amp; Next Steps – Cindy Mar</a:t>
                      </a:r>
                    </a:p>
                  </a:txBody>
                  <a:tcPr/>
                </a:tc>
                <a:extLst>
                  <a:ext uri="{0D108BD9-81ED-4DB2-BD59-A6C34878D82A}">
                    <a16:rowId xmlns:a16="http://schemas.microsoft.com/office/drawing/2014/main" val="2603612635"/>
                  </a:ext>
                </a:extLst>
              </a:tr>
            </a:tbl>
          </a:graphicData>
        </a:graphic>
      </p:graphicFrame>
    </p:spTree>
    <p:extLst>
      <p:ext uri="{BB962C8B-B14F-4D97-AF65-F5344CB8AC3E}">
        <p14:creationId xmlns:p14="http://schemas.microsoft.com/office/powerpoint/2010/main" val="2108490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C1E7FB6C-5010-461F-9977-B85FBC728BE0}"/>
              </a:ext>
            </a:extLst>
          </p:cNvPr>
          <p:cNvPicPr>
            <a:picLocks noGrp="1" noChangeAspect="1"/>
          </p:cNvPicPr>
          <p:nvPr>
            <p:ph sz="quarter" idx="13"/>
          </p:nvPr>
        </p:nvPicPr>
        <p:blipFill>
          <a:blip r:embed="rId3">
            <a:duotone>
              <a:prstClr val="black"/>
              <a:schemeClr val="accent3">
                <a:tint val="45000"/>
                <a:satMod val="400000"/>
              </a:schemeClr>
            </a:duotone>
          </a:blip>
          <a:stretch>
            <a:fillRect/>
          </a:stretch>
        </p:blipFill>
        <p:spPr>
          <a:xfrm>
            <a:off x="652603" y="1254909"/>
            <a:ext cx="10880725" cy="4348181"/>
          </a:xfrm>
        </p:spPr>
      </p:pic>
      <p:sp>
        <p:nvSpPr>
          <p:cNvPr id="11" name="Title 7">
            <a:extLst>
              <a:ext uri="{FF2B5EF4-FFF2-40B4-BE49-F238E27FC236}">
                <a16:creationId xmlns:a16="http://schemas.microsoft.com/office/drawing/2014/main" id="{8949C49C-8395-4A09-8930-F2249381DB00}"/>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pPr defTabSz="914400">
              <a:lnSpc>
                <a:spcPct val="90000"/>
              </a:lnSpc>
              <a:spcAft>
                <a:spcPts val="600"/>
              </a:spcAft>
            </a:pPr>
            <a:r>
              <a:rPr lang="en-US" sz="4000" dirty="0">
                <a:solidFill>
                  <a:schemeClr val="tx1"/>
                </a:solidFill>
                <a:ea typeface="+mj-ea"/>
                <a:cs typeface="+mj-cs"/>
              </a:rPr>
              <a:t>Azure Form Recognizer – Document Labelling</a:t>
            </a:r>
          </a:p>
        </p:txBody>
      </p:sp>
    </p:spTree>
    <p:extLst>
      <p:ext uri="{BB962C8B-B14F-4D97-AF65-F5344CB8AC3E}">
        <p14:creationId xmlns:p14="http://schemas.microsoft.com/office/powerpoint/2010/main" val="32051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a:t>
            </a:r>
            <a:r>
              <a:rPr lang="en-US" sz="6600" kern="1200">
                <a:solidFill>
                  <a:schemeClr val="tx1"/>
                </a:solidFill>
                <a:latin typeface="+mj-lt"/>
                <a:ea typeface="+mj-ea"/>
                <a:cs typeface="+mj-cs"/>
              </a:rPr>
              <a:t>Logic App</a:t>
            </a:r>
            <a:endParaRPr kumimoji="0" lang="en-US" sz="6600" b="0" i="0" u="none" strike="noStrike" kern="1200" cap="none" spc="0" normalizeH="0" baseline="0" noProof="0">
              <a:ln>
                <a:noFill/>
              </a:ln>
              <a:solidFill>
                <a:schemeClr val="tx1"/>
              </a:solidFill>
              <a:effectLst/>
              <a:uLnTx/>
              <a:uFillTx/>
              <a:latin typeface="+mj-lt"/>
              <a:ea typeface="+mj-ea"/>
              <a:cs typeface="+mj-cs"/>
            </a:endParaRP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29865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 name="Rectangle 290"/>
          <p:cNvSpPr/>
          <p:nvPr/>
        </p:nvSpPr>
        <p:spPr bwMode="auto">
          <a:xfrm>
            <a:off x="2595" y="1945"/>
            <a:ext cx="12186813" cy="14336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r>
              <a:rPr lang="en-US" sz="2353" kern="0">
                <a:gradFill>
                  <a:gsLst>
                    <a:gs pos="0">
                      <a:srgbClr val="FFFFFF"/>
                    </a:gs>
                    <a:gs pos="100000">
                      <a:srgbClr val="FFFFFF"/>
                    </a:gs>
                  </a:gsLst>
                  <a:lin ang="5400000" scaled="0"/>
                </a:gradFill>
                <a:latin typeface="Segoe UI"/>
                <a:ea typeface="Segoe UI" pitchFamily="34" charset="0"/>
                <a:cs typeface="Segoe UI" pitchFamily="34" charset="0"/>
              </a:rPr>
              <a:t> About 39% of developers are focused on building  cloud based Application integration</a:t>
            </a:r>
          </a:p>
        </p:txBody>
      </p:sp>
      <p:sp>
        <p:nvSpPr>
          <p:cNvPr id="4" name="Title 3"/>
          <p:cNvSpPr>
            <a:spLocks noGrp="1"/>
          </p:cNvSpPr>
          <p:nvPr>
            <p:ph type="title"/>
          </p:nvPr>
        </p:nvSpPr>
        <p:spPr/>
        <p:txBody>
          <a:bodyPr/>
          <a:lstStyle/>
          <a:p>
            <a:r>
              <a:rPr lang="en-US"/>
              <a:t>Microsoft’s Cloud Integration Platform</a:t>
            </a:r>
          </a:p>
        </p:txBody>
      </p:sp>
      <p:grpSp>
        <p:nvGrpSpPr>
          <p:cNvPr id="34" name="Group 33"/>
          <p:cNvGrpSpPr/>
          <p:nvPr/>
        </p:nvGrpSpPr>
        <p:grpSpPr>
          <a:xfrm>
            <a:off x="4004309" y="1968973"/>
            <a:ext cx="4140725" cy="4060221"/>
            <a:chOff x="4083694" y="1969222"/>
            <a:chExt cx="4225554" cy="4143400"/>
          </a:xfrm>
        </p:grpSpPr>
        <p:grpSp>
          <p:nvGrpSpPr>
            <p:cNvPr id="35" name="Connect/AS/B2B"/>
            <p:cNvGrpSpPr/>
            <p:nvPr/>
          </p:nvGrpSpPr>
          <p:grpSpPr>
            <a:xfrm>
              <a:off x="4083694" y="1969222"/>
              <a:ext cx="4225554" cy="4143400"/>
              <a:chOff x="4405849" y="2478624"/>
              <a:chExt cx="3617003" cy="3617631"/>
            </a:xfrm>
            <a:solidFill>
              <a:schemeClr val="tx2"/>
            </a:solidFill>
          </p:grpSpPr>
          <p:grpSp>
            <p:nvGrpSpPr>
              <p:cNvPr id="36" name="Group 35"/>
              <p:cNvGrpSpPr/>
              <p:nvPr/>
            </p:nvGrpSpPr>
            <p:grpSpPr>
              <a:xfrm>
                <a:off x="4405849" y="2478624"/>
                <a:ext cx="3617003" cy="3616117"/>
                <a:chOff x="4103281" y="1840647"/>
                <a:chExt cx="4207291" cy="4206260"/>
              </a:xfrm>
              <a:grpFill/>
            </p:grpSpPr>
            <p:sp>
              <p:nvSpPr>
                <p:cNvPr id="48" name="Rectangle 47"/>
                <p:cNvSpPr/>
                <p:nvPr/>
              </p:nvSpPr>
              <p:spPr>
                <a:xfrm>
                  <a:off x="5691496" y="5487454"/>
                  <a:ext cx="964612" cy="358190"/>
                </a:xfrm>
                <a:prstGeom prst="rect">
                  <a:avLst/>
                </a:prstGeom>
                <a:grpFill/>
              </p:spPr>
              <p:txBody>
                <a:bodyPr wrap="none">
                  <a:prstTxWarp prst="textArchDown">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B2B/EDI</a:t>
                  </a:r>
                </a:p>
              </p:txBody>
            </p:sp>
            <p:sp>
              <p:nvSpPr>
                <p:cNvPr id="49" name="Pie 48"/>
                <p:cNvSpPr/>
                <p:nvPr/>
              </p:nvSpPr>
              <p:spPr>
                <a:xfrm rot="10800000" flipH="1">
                  <a:off x="4103281" y="1840647"/>
                  <a:ext cx="4207291" cy="4201660"/>
                </a:xfrm>
                <a:prstGeom prst="pie">
                  <a:avLst>
                    <a:gd name="adj1" fmla="val 16257255"/>
                    <a:gd name="adj2" fmla="val 2050192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50" name="Pie 49"/>
                <p:cNvSpPr/>
                <p:nvPr/>
              </p:nvSpPr>
              <p:spPr>
                <a:xfrm rot="16817660" flipH="1">
                  <a:off x="4126078" y="1874181"/>
                  <a:ext cx="4172726" cy="4172725"/>
                </a:xfrm>
                <a:prstGeom prst="pie">
                  <a:avLst>
                    <a:gd name="adj1" fmla="val 18000048"/>
                    <a:gd name="adj2" fmla="val 68825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grpSp>
          <p:sp>
            <p:nvSpPr>
              <p:cNvPr id="37" name="Pie 36"/>
              <p:cNvSpPr/>
              <p:nvPr/>
            </p:nvSpPr>
            <p:spPr>
              <a:xfrm rot="10800000">
                <a:off x="4430457" y="2505936"/>
                <a:ext cx="3590318" cy="3590319"/>
              </a:xfrm>
              <a:prstGeom prst="pie">
                <a:avLst>
                  <a:gd name="adj1" fmla="val 5381504"/>
                  <a:gd name="adj2" fmla="val 11866110"/>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40" name="Rectangle 39"/>
              <p:cNvSpPr/>
              <p:nvPr/>
            </p:nvSpPr>
            <p:spPr>
              <a:xfrm rot="3366369">
                <a:off x="5668686" y="3191605"/>
                <a:ext cx="2182816" cy="1491972"/>
              </a:xfrm>
              <a:prstGeom prst="rect">
                <a:avLst/>
              </a:prstGeom>
              <a:noFill/>
            </p:spPr>
            <p:txBody>
              <a:bodyPr spcFirstLastPara="1" wrap="none" lIns="91375" tIns="45688" rIns="91375" bIns="45688" numCol="1">
                <a:prstTxWarp prst="textArchUp">
                  <a:avLst>
                    <a:gd name="adj" fmla="val 11970409"/>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AZURE SERVICES</a:t>
                </a:r>
              </a:p>
            </p:txBody>
          </p:sp>
          <p:grpSp>
            <p:nvGrpSpPr>
              <p:cNvPr id="41" name="Group 40"/>
              <p:cNvGrpSpPr/>
              <p:nvPr/>
            </p:nvGrpSpPr>
            <p:grpSpPr>
              <a:xfrm>
                <a:off x="4430455" y="2505936"/>
                <a:ext cx="3590318" cy="3590319"/>
                <a:chOff x="4430455" y="2505936"/>
                <a:chExt cx="3590318" cy="3590319"/>
              </a:xfrm>
              <a:grpFill/>
            </p:grpSpPr>
            <p:sp>
              <p:nvSpPr>
                <p:cNvPr id="45" name="Pie 44"/>
                <p:cNvSpPr/>
                <p:nvPr/>
              </p:nvSpPr>
              <p:spPr>
                <a:xfrm rot="10800000">
                  <a:off x="4430455" y="2505936"/>
                  <a:ext cx="3590318" cy="3590319"/>
                </a:xfrm>
                <a:prstGeom prst="pie">
                  <a:avLst>
                    <a:gd name="adj1" fmla="val 20430767"/>
                    <a:gd name="adj2" fmla="val 5381137"/>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46" name="Rectangle 45"/>
                <p:cNvSpPr/>
                <p:nvPr/>
              </p:nvSpPr>
              <p:spPr>
                <a:xfrm rot="18220985">
                  <a:off x="4576465" y="3162020"/>
                  <a:ext cx="2453710" cy="1769721"/>
                </a:xfrm>
                <a:prstGeom prst="rect">
                  <a:avLst/>
                </a:prstGeom>
                <a:noFill/>
              </p:spPr>
              <p:txBody>
                <a:bodyPr spcFirstLastPara="1" wrap="none" lIns="91375" tIns="45688" rIns="91375" bIns="45688" numCol="1">
                  <a:prstTxWarp prst="textArchUp">
                    <a:avLst>
                      <a:gd name="adj" fmla="val 11970409"/>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CONNECTORS</a:t>
                  </a:r>
                </a:p>
              </p:txBody>
            </p:sp>
          </p:grpSp>
          <p:sp>
            <p:nvSpPr>
              <p:cNvPr id="42" name="Rectangle 41"/>
              <p:cNvSpPr/>
              <p:nvPr/>
            </p:nvSpPr>
            <p:spPr>
              <a:xfrm rot="2165793">
                <a:off x="4944615" y="4961653"/>
                <a:ext cx="1298994" cy="482236"/>
              </a:xfrm>
              <a:prstGeom prst="rect">
                <a:avLst/>
              </a:prstGeom>
              <a:noFill/>
            </p:spPr>
            <p:txBody>
              <a:bodyPr wrap="none">
                <a:prstTxWarp prst="textArchDown">
                  <a:avLst/>
                </a:prstTxWarp>
                <a:spAutoFit/>
              </a:bodyPr>
              <a:lstStyle/>
              <a:p>
                <a:pPr algn="ctr" defTabSz="895870">
                  <a:lnSpc>
                    <a:spcPct val="90000"/>
                  </a:lnSpc>
                </a:pPr>
                <a:r>
                  <a:rPr lang="en-US" sz="5879" kern="0" spc="98">
                    <a:ln w="0"/>
                    <a:solidFill>
                      <a:srgbClr val="FFFFFF"/>
                    </a:solidFill>
                    <a:latin typeface="Segoe UI Semibold" panose="020B0702040204020203" pitchFamily="34" charset="0"/>
                    <a:cs typeface="Segoe UI Semibold" panose="020B0702040204020203" pitchFamily="34" charset="0"/>
                  </a:rPr>
                  <a:t>API</a:t>
                </a:r>
                <a:br>
                  <a:rPr lang="en-US" sz="5879" kern="0" spc="98">
                    <a:ln w="0"/>
                    <a:solidFill>
                      <a:srgbClr val="FFFFFF"/>
                    </a:solidFill>
                    <a:latin typeface="Segoe UI Semibold" panose="020B0702040204020203" pitchFamily="34" charset="0"/>
                    <a:cs typeface="Segoe UI Semibold" panose="020B0702040204020203" pitchFamily="34" charset="0"/>
                  </a:rPr>
                </a:br>
                <a:r>
                  <a:rPr lang="en-US" sz="5879" kern="0" spc="98">
                    <a:ln w="0"/>
                    <a:solidFill>
                      <a:srgbClr val="FFFFFF"/>
                    </a:solidFill>
                    <a:latin typeface="Segoe UI Semibold" panose="020B0702040204020203" pitchFamily="34" charset="0"/>
                    <a:cs typeface="Segoe UI Semibold" panose="020B0702040204020203" pitchFamily="34" charset="0"/>
                  </a:rPr>
                  <a:t>MANAGMENT</a:t>
                </a:r>
              </a:p>
            </p:txBody>
          </p:sp>
        </p:grpSp>
        <p:sp>
          <p:nvSpPr>
            <p:cNvPr id="51" name="ASB Smaller text"/>
            <p:cNvSpPr/>
            <p:nvPr/>
          </p:nvSpPr>
          <p:spPr>
            <a:xfrm rot="19175868">
              <a:off x="4887176" y="2863991"/>
              <a:ext cx="2875690" cy="2757882"/>
            </a:xfrm>
            <a:prstGeom prst="rect">
              <a:avLst/>
            </a:prstGeom>
            <a:grpFill/>
          </p:spPr>
          <p:txBody>
            <a:bodyPr spcFirstLastPara="1" wrap="none" numCol="1">
              <a:prstTxWarp prst="textArchDown">
                <a:avLst/>
              </a:prstTxWarp>
              <a:spAutoFit/>
            </a:bodyPr>
            <a:lstStyle/>
            <a:p>
              <a:pPr algn="ctr" defTabSz="895870">
                <a:lnSpc>
                  <a:spcPct val="90000"/>
                </a:lnSpc>
              </a:pPr>
              <a:r>
                <a:rPr lang="en-US" sz="1961" kern="0" spc="98">
                  <a:ln w="0"/>
                  <a:solidFill>
                    <a:srgbClr val="FFFFFF"/>
                  </a:solidFill>
                  <a:latin typeface="Segoe UI Semibold" panose="020B0702040204020203" pitchFamily="34" charset="0"/>
                  <a:cs typeface="Segoe UI Semibold" panose="020B0702040204020203" pitchFamily="34" charset="0"/>
                </a:rPr>
                <a:t>AZURE </a:t>
              </a:r>
              <a:br>
                <a:rPr lang="en-US" sz="1961" kern="0" spc="98">
                  <a:ln w="0"/>
                  <a:solidFill>
                    <a:srgbClr val="FFFFFF"/>
                  </a:solidFill>
                  <a:latin typeface="Segoe UI Semibold" panose="020B0702040204020203" pitchFamily="34" charset="0"/>
                  <a:cs typeface="Segoe UI Semibold" panose="020B0702040204020203" pitchFamily="34" charset="0"/>
                </a:rPr>
              </a:br>
              <a:r>
                <a:rPr lang="en-US" sz="1961" kern="0" spc="98">
                  <a:ln w="0"/>
                  <a:solidFill>
                    <a:srgbClr val="FFFFFF"/>
                  </a:solidFill>
                  <a:latin typeface="Segoe UI Semibold" panose="020B0702040204020203" pitchFamily="34" charset="0"/>
                  <a:cs typeface="Segoe UI Semibold" panose="020B0702040204020203" pitchFamily="34" charset="0"/>
                </a:rPr>
                <a:t>SERVICE BUS</a:t>
              </a:r>
            </a:p>
          </p:txBody>
        </p:sp>
      </p:grpSp>
      <p:grpSp>
        <p:nvGrpSpPr>
          <p:cNvPr id="8" name="Group 7"/>
          <p:cNvGrpSpPr/>
          <p:nvPr/>
        </p:nvGrpSpPr>
        <p:grpSpPr>
          <a:xfrm>
            <a:off x="4021210" y="2011113"/>
            <a:ext cx="4137829" cy="4014642"/>
            <a:chOff x="3825170" y="1720125"/>
            <a:chExt cx="4222597" cy="4096887"/>
          </a:xfrm>
        </p:grpSpPr>
        <p:sp>
          <p:nvSpPr>
            <p:cNvPr id="53" name="API Pie"/>
            <p:cNvSpPr/>
            <p:nvPr/>
          </p:nvSpPr>
          <p:spPr>
            <a:xfrm rot="10800000">
              <a:off x="3839215" y="1720125"/>
              <a:ext cx="4208552" cy="4096886"/>
            </a:xfrm>
            <a:prstGeom prst="pie">
              <a:avLst>
                <a:gd name="adj1" fmla="val 16170891"/>
                <a:gd name="adj2" fmla="val 5368145"/>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a:solidFill>
                  <a:srgbClr val="FFFFFF"/>
                </a:solidFill>
                <a:latin typeface="Segoe UI"/>
              </a:endParaRPr>
            </a:p>
          </p:txBody>
        </p:sp>
        <p:sp>
          <p:nvSpPr>
            <p:cNvPr id="58" name="Az Service Pie"/>
            <p:cNvSpPr/>
            <p:nvPr/>
          </p:nvSpPr>
          <p:spPr>
            <a:xfrm rot="10800000" flipH="1">
              <a:off x="3825170" y="1720127"/>
              <a:ext cx="4209640" cy="4096885"/>
            </a:xfrm>
            <a:prstGeom prst="pie">
              <a:avLst>
                <a:gd name="adj1" fmla="val 16243066"/>
                <a:gd name="adj2" fmla="val 5405998"/>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a:solidFill>
                  <a:srgbClr val="FFFFFF"/>
                </a:solidFill>
                <a:latin typeface="Segoe UI"/>
              </a:endParaRPr>
            </a:p>
          </p:txBody>
        </p:sp>
        <p:sp>
          <p:nvSpPr>
            <p:cNvPr id="79" name="Rectangle 78"/>
            <p:cNvSpPr/>
            <p:nvPr/>
          </p:nvSpPr>
          <p:spPr bwMode="invGray">
            <a:xfrm rot="16200000">
              <a:off x="4254523" y="2279014"/>
              <a:ext cx="3132263" cy="3021189"/>
            </a:xfrm>
            <a:prstGeom prst="rect">
              <a:avLst/>
            </a:prstGeom>
            <a:noFill/>
          </p:spPr>
          <p:txBody>
            <a:bodyPr spcFirstLastPara="1" wrap="none" lIns="91349" tIns="45675" rIns="91349" bIns="45675" numCol="1">
              <a:prstTxWarp prst="textArchUp">
                <a:avLst>
                  <a:gd name="adj" fmla="val 11970409"/>
                </a:avLst>
              </a:prstTxWarp>
              <a:spAutoFit/>
            </a:bodyPr>
            <a:lstStyle/>
            <a:p>
              <a:pPr algn="ctr" defTabSz="913523">
                <a:defRPr/>
              </a:pPr>
              <a:r>
                <a:rPr lang="en-US" sz="1961" kern="0" spc="98">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PI MANAGEMENT</a:t>
              </a:r>
            </a:p>
          </p:txBody>
        </p:sp>
        <p:sp>
          <p:nvSpPr>
            <p:cNvPr id="80" name="Rectangle 79"/>
            <p:cNvSpPr/>
            <p:nvPr/>
          </p:nvSpPr>
          <p:spPr bwMode="invGray">
            <a:xfrm rot="5400000">
              <a:off x="4559274" y="2291263"/>
              <a:ext cx="3135460" cy="2954567"/>
            </a:xfrm>
            <a:prstGeom prst="rect">
              <a:avLst/>
            </a:prstGeom>
            <a:noFill/>
          </p:spPr>
          <p:txBody>
            <a:bodyPr spcFirstLastPara="1" wrap="none" lIns="91349" tIns="45675" rIns="91349" bIns="45675" numCol="1">
              <a:prstTxWarp prst="textArchUp">
                <a:avLst>
                  <a:gd name="adj" fmla="val 11970409"/>
                </a:avLst>
              </a:prstTxWarp>
              <a:spAutoFit/>
            </a:bodyPr>
            <a:lstStyle/>
            <a:p>
              <a:pPr algn="ctr" defTabSz="913523">
                <a:defRPr/>
              </a:pPr>
              <a:r>
                <a:rPr lang="en-US" sz="1765" kern="0" spc="98">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ZURE SERVICE BUS</a:t>
              </a:r>
            </a:p>
          </p:txBody>
        </p:sp>
      </p:grpSp>
      <p:grpSp>
        <p:nvGrpSpPr>
          <p:cNvPr id="15" name="Circle--parts" hidden="1"/>
          <p:cNvGrpSpPr/>
          <p:nvPr/>
        </p:nvGrpSpPr>
        <p:grpSpPr>
          <a:xfrm>
            <a:off x="9523915" y="-3032187"/>
            <a:ext cx="2482408" cy="2482407"/>
            <a:chOff x="9713785" y="-2874594"/>
            <a:chExt cx="2533265" cy="2533263"/>
          </a:xfrm>
        </p:grpSpPr>
        <p:grpSp>
          <p:nvGrpSpPr>
            <p:cNvPr id="105" name="Group 104"/>
            <p:cNvGrpSpPr/>
            <p:nvPr/>
          </p:nvGrpSpPr>
          <p:grpSpPr>
            <a:xfrm>
              <a:off x="9713785" y="-2874594"/>
              <a:ext cx="2533265" cy="2533263"/>
              <a:chOff x="4654938" y="2498817"/>
              <a:chExt cx="2584062" cy="2584060"/>
            </a:xfrm>
            <a:gradFill>
              <a:gsLst>
                <a:gs pos="34000">
                  <a:srgbClr val="00BCF2"/>
                </a:gs>
                <a:gs pos="70000">
                  <a:srgbClr val="0829CE"/>
                </a:gs>
                <a:gs pos="93000">
                  <a:srgbClr val="061C90"/>
                </a:gs>
              </a:gsLst>
              <a:lin ang="5400000" scaled="0"/>
            </a:gradFill>
          </p:grpSpPr>
          <p:sp>
            <p:nvSpPr>
              <p:cNvPr id="106" name="Oval 105"/>
              <p:cNvSpPr/>
              <p:nvPr/>
            </p:nvSpPr>
            <p:spPr>
              <a:xfrm>
                <a:off x="4654938" y="2498817"/>
                <a:ext cx="2584062" cy="2584060"/>
              </a:xfrm>
              <a:prstGeom prst="ellipse">
                <a:avLst/>
              </a:prstGeom>
              <a:gradFill>
                <a:gsLst>
                  <a:gs pos="20000">
                    <a:srgbClr val="00B0F0"/>
                  </a:gs>
                  <a:gs pos="79000">
                    <a:srgbClr val="00317A"/>
                  </a:gs>
                </a:gsLst>
                <a:lin ang="5400000" scaled="0"/>
              </a:gra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19" kern="0" spc="96">
                  <a:solidFill>
                    <a:srgbClr val="FFFFFF"/>
                  </a:solidFill>
                  <a:latin typeface="Segoe UI Semibold" panose="020B0702040204020203" pitchFamily="34" charset="0"/>
                  <a:cs typeface="Segoe UI Semibold" panose="020B0702040204020203" pitchFamily="34" charset="0"/>
                </a:endParaRPr>
              </a:p>
            </p:txBody>
          </p:sp>
          <p:sp>
            <p:nvSpPr>
              <p:cNvPr id="107" name="TextBox 106"/>
              <p:cNvSpPr txBox="1"/>
              <p:nvPr/>
            </p:nvSpPr>
            <p:spPr>
              <a:xfrm>
                <a:off x="4704127" y="4086475"/>
                <a:ext cx="2485683" cy="384292"/>
              </a:xfrm>
              <a:prstGeom prst="rect">
                <a:avLst/>
              </a:prstGeom>
              <a:noFill/>
              <a:effectLst/>
            </p:spPr>
            <p:txBody>
              <a:bodyPr wrap="square" rtlCol="0">
                <a:spAutoFit/>
              </a:bodyPr>
              <a:lstStyle/>
              <a:p>
                <a:pPr algn="ctr" defTabSz="895870"/>
                <a:r>
                  <a:rPr lang="en-US" sz="1765" kern="0" spc="78">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BIZTALK SERVER</a:t>
                </a:r>
              </a:p>
            </p:txBody>
          </p:sp>
          <p:sp>
            <p:nvSpPr>
              <p:cNvPr id="108" name="TextBox 107"/>
              <p:cNvSpPr txBox="1"/>
              <p:nvPr/>
            </p:nvSpPr>
            <p:spPr>
              <a:xfrm>
                <a:off x="5011429" y="3063584"/>
                <a:ext cx="1871079" cy="384292"/>
              </a:xfrm>
              <a:prstGeom prst="rect">
                <a:avLst/>
              </a:prstGeom>
              <a:noFill/>
              <a:effectLst/>
            </p:spPr>
            <p:txBody>
              <a:bodyPr wrap="square" rtlCol="0">
                <a:spAutoFit/>
              </a:bodyPr>
              <a:lstStyle/>
              <a:p>
                <a:pPr algn="ctr" defTabSz="895870"/>
                <a:r>
                  <a:rPr lang="en-US" sz="1765" kern="0" spc="78">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LOGIC APPS</a:t>
                </a:r>
              </a:p>
            </p:txBody>
          </p:sp>
        </p:grpSp>
        <p:pic>
          <p:nvPicPr>
            <p:cNvPr id="78" name="Picture 77"/>
            <p:cNvPicPr>
              <a:picLocks noChangeAspect="1"/>
            </p:cNvPicPr>
            <p:nvPr/>
          </p:nvPicPr>
          <p:blipFill>
            <a:blip r:embed="rId3">
              <a:biLevel thresh="25000"/>
            </a:blip>
            <a:stretch>
              <a:fillRect/>
            </a:stretch>
          </p:blipFill>
          <p:spPr>
            <a:xfrm>
              <a:off x="10542164" y="-1837731"/>
              <a:ext cx="380134" cy="380134"/>
            </a:xfrm>
            <a:prstGeom prst="rect">
              <a:avLst/>
            </a:prstGeom>
          </p:spPr>
        </p:pic>
        <p:sp>
          <p:nvSpPr>
            <p:cNvPr id="102" name="Freeform 5"/>
            <p:cNvSpPr>
              <a:spLocks noChangeAspect="1" noEditPoints="1"/>
            </p:cNvSpPr>
            <p:nvPr/>
          </p:nvSpPr>
          <p:spPr bwMode="auto">
            <a:xfrm>
              <a:off x="10995666" y="-1863725"/>
              <a:ext cx="215260" cy="402814"/>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89604" tIns="44802" rIns="89604" bIns="44802" numCol="1" anchor="t" anchorCtr="0" compatLnSpc="1">
              <a:prstTxWarp prst="textNoShape">
                <a:avLst/>
              </a:prstTxWarp>
            </a:bodyPr>
            <a:lstStyle/>
            <a:p>
              <a:pPr defTabSz="895870"/>
              <a:endParaRPr lang="en-US" sz="1765" kern="0">
                <a:solidFill>
                  <a:srgbClr val="505050"/>
                </a:solidFill>
                <a:latin typeface="Segoe UI"/>
              </a:endParaRPr>
            </a:p>
          </p:txBody>
        </p:sp>
      </p:grpSp>
      <p:grpSp>
        <p:nvGrpSpPr>
          <p:cNvPr id="19" name="Group 18"/>
          <p:cNvGrpSpPr/>
          <p:nvPr/>
        </p:nvGrpSpPr>
        <p:grpSpPr>
          <a:xfrm>
            <a:off x="409372" y="1937126"/>
            <a:ext cx="3183212" cy="4160722"/>
            <a:chOff x="415110" y="1936723"/>
            <a:chExt cx="3248425" cy="4245960"/>
          </a:xfrm>
        </p:grpSpPr>
        <p:grpSp>
          <p:nvGrpSpPr>
            <p:cNvPr id="179" name="Group 178"/>
            <p:cNvGrpSpPr/>
            <p:nvPr/>
          </p:nvGrpSpPr>
          <p:grpSpPr>
            <a:xfrm>
              <a:off x="2918110" y="4236632"/>
              <a:ext cx="745425" cy="745425"/>
              <a:chOff x="2989406" y="5535051"/>
              <a:chExt cx="745531" cy="745531"/>
            </a:xfrm>
          </p:grpSpPr>
          <p:sp>
            <p:nvSpPr>
              <p:cNvPr id="180" name="Oval 179"/>
              <p:cNvSpPr/>
              <p:nvPr/>
            </p:nvSpPr>
            <p:spPr bwMode="auto">
              <a:xfrm>
                <a:off x="2989406" y="5535051"/>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Freeform 5"/>
              <p:cNvSpPr>
                <a:spLocks noChangeAspect="1" noEditPoints="1"/>
              </p:cNvSpPr>
              <p:nvPr/>
            </p:nvSpPr>
            <p:spPr bwMode="black">
              <a:xfrm>
                <a:off x="3120102" y="5738321"/>
                <a:ext cx="484138" cy="338990"/>
              </a:xfrm>
              <a:custGeom>
                <a:avLst/>
                <a:gdLst>
                  <a:gd name="T0" fmla="*/ 606 w 2288"/>
                  <a:gd name="T1" fmla="*/ 756 h 1601"/>
                  <a:gd name="T2" fmla="*/ 606 w 2288"/>
                  <a:gd name="T3" fmla="*/ 756 h 1601"/>
                  <a:gd name="T4" fmla="*/ 606 w 2288"/>
                  <a:gd name="T5" fmla="*/ 756 h 1601"/>
                  <a:gd name="T6" fmla="*/ 865 w 2288"/>
                  <a:gd name="T7" fmla="*/ 698 h 1601"/>
                  <a:gd name="T8" fmla="*/ 606 w 2288"/>
                  <a:gd name="T9" fmla="*/ 824 h 1601"/>
                  <a:gd name="T10" fmla="*/ 606 w 2288"/>
                  <a:gd name="T11" fmla="*/ 824 h 1601"/>
                  <a:gd name="T12" fmla="*/ 940 w 2288"/>
                  <a:gd name="T13" fmla="*/ 698 h 1601"/>
                  <a:gd name="T14" fmla="*/ 1475 w 2288"/>
                  <a:gd name="T15" fmla="*/ 698 h 1601"/>
                  <a:gd name="T16" fmla="*/ 1475 w 2288"/>
                  <a:gd name="T17" fmla="*/ 698 h 1601"/>
                  <a:gd name="T18" fmla="*/ 556 w 2288"/>
                  <a:gd name="T19" fmla="*/ 792 h 1601"/>
                  <a:gd name="T20" fmla="*/ 556 w 2288"/>
                  <a:gd name="T21" fmla="*/ 792 h 1601"/>
                  <a:gd name="T22" fmla="*/ 865 w 2288"/>
                  <a:gd name="T23" fmla="*/ 698 h 1601"/>
                  <a:gd name="T24" fmla="*/ 1436 w 2288"/>
                  <a:gd name="T25" fmla="*/ 824 h 1601"/>
                  <a:gd name="T26" fmla="*/ 1436 w 2288"/>
                  <a:gd name="T27" fmla="*/ 824 h 1601"/>
                  <a:gd name="T28" fmla="*/ 940 w 2288"/>
                  <a:gd name="T29" fmla="*/ 698 h 1601"/>
                  <a:gd name="T30" fmla="*/ 606 w 2288"/>
                  <a:gd name="T31" fmla="*/ 756 h 1601"/>
                  <a:gd name="T32" fmla="*/ 382 w 2288"/>
                  <a:gd name="T33" fmla="*/ 1339 h 1601"/>
                  <a:gd name="T34" fmla="*/ 490 w 2288"/>
                  <a:gd name="T35" fmla="*/ 794 h 1601"/>
                  <a:gd name="T36" fmla="*/ 447 w 2288"/>
                  <a:gd name="T37" fmla="*/ 799 h 1601"/>
                  <a:gd name="T38" fmla="*/ 483 w 2288"/>
                  <a:gd name="T39" fmla="*/ 667 h 1601"/>
                  <a:gd name="T40" fmla="*/ 490 w 2288"/>
                  <a:gd name="T41" fmla="*/ 794 h 1601"/>
                  <a:gd name="T42" fmla="*/ 513 w 2288"/>
                  <a:gd name="T43" fmla="*/ 792 h 1601"/>
                  <a:gd name="T44" fmla="*/ 599 w 2288"/>
                  <a:gd name="T45" fmla="*/ 680 h 1601"/>
                  <a:gd name="T46" fmla="*/ 685 w 2288"/>
                  <a:gd name="T47" fmla="*/ 721 h 1601"/>
                  <a:gd name="T48" fmla="*/ 770 w 2288"/>
                  <a:gd name="T49" fmla="*/ 567 h 1601"/>
                  <a:gd name="T50" fmla="*/ 982 w 2288"/>
                  <a:gd name="T51" fmla="*/ 839 h 1601"/>
                  <a:gd name="T52" fmla="*/ 863 w 2288"/>
                  <a:gd name="T53" fmla="*/ 652 h 1601"/>
                  <a:gd name="T54" fmla="*/ 1018 w 2288"/>
                  <a:gd name="T55" fmla="*/ 830 h 1601"/>
                  <a:gd name="T56" fmla="*/ 1044 w 2288"/>
                  <a:gd name="T57" fmla="*/ 749 h 1601"/>
                  <a:gd name="T58" fmla="*/ 1074 w 2288"/>
                  <a:gd name="T59" fmla="*/ 685 h 1601"/>
                  <a:gd name="T60" fmla="*/ 1284 w 2288"/>
                  <a:gd name="T61" fmla="*/ 684 h 1601"/>
                  <a:gd name="T62" fmla="*/ 1145 w 2288"/>
                  <a:gd name="T63" fmla="*/ 911 h 1601"/>
                  <a:gd name="T64" fmla="*/ 1212 w 2288"/>
                  <a:gd name="T65" fmla="*/ 684 h 1601"/>
                  <a:gd name="T66" fmla="*/ 1363 w 2288"/>
                  <a:gd name="T67" fmla="*/ 563 h 1601"/>
                  <a:gd name="T68" fmla="*/ 1290 w 2288"/>
                  <a:gd name="T69" fmla="*/ 648 h 1601"/>
                  <a:gd name="T70" fmla="*/ 1364 w 2288"/>
                  <a:gd name="T71" fmla="*/ 828 h 1601"/>
                  <a:gd name="T72" fmla="*/ 1526 w 2288"/>
                  <a:gd name="T73" fmla="*/ 710 h 1601"/>
                  <a:gd name="T74" fmla="*/ 1615 w 2288"/>
                  <a:gd name="T75" fmla="*/ 716 h 1601"/>
                  <a:gd name="T76" fmla="*/ 1609 w 2288"/>
                  <a:gd name="T77" fmla="*/ 652 h 1601"/>
                  <a:gd name="T78" fmla="*/ 1697 w 2288"/>
                  <a:gd name="T79" fmla="*/ 751 h 1601"/>
                  <a:gd name="T80" fmla="*/ 1842 w 2288"/>
                  <a:gd name="T81" fmla="*/ 686 h 1601"/>
                  <a:gd name="T82" fmla="*/ 1857 w 2288"/>
                  <a:gd name="T83" fmla="*/ 844 h 1601"/>
                  <a:gd name="T84" fmla="*/ 2044 w 2288"/>
                  <a:gd name="T85" fmla="*/ 839 h 1601"/>
                  <a:gd name="T86" fmla="*/ 1925 w 2288"/>
                  <a:gd name="T87" fmla="*/ 652 h 1601"/>
                  <a:gd name="T88" fmla="*/ 2011 w 2288"/>
                  <a:gd name="T89" fmla="*/ 730 h 1601"/>
                  <a:gd name="T90" fmla="*/ 1488 w 2288"/>
                  <a:gd name="T91" fmla="*/ 752 h 1601"/>
                  <a:gd name="T92" fmla="*/ 568 w 2288"/>
                  <a:gd name="T93" fmla="*/ 766 h 1601"/>
                  <a:gd name="T94" fmla="*/ 606 w 2288"/>
                  <a:gd name="T95" fmla="*/ 756 h 1601"/>
                  <a:gd name="T96" fmla="*/ 940 w 2288"/>
                  <a:gd name="T97" fmla="*/ 698 h 1601"/>
                  <a:gd name="T98" fmla="*/ 1386 w 2288"/>
                  <a:gd name="T99" fmla="*/ 752 h 1601"/>
                  <a:gd name="T100" fmla="*/ 1386 w 2288"/>
                  <a:gd name="T101" fmla="*/ 752 h 1601"/>
                  <a:gd name="T102" fmla="*/ 854 w 2288"/>
                  <a:gd name="T103" fmla="*/ 730 h 1601"/>
                  <a:gd name="T104" fmla="*/ 642 w 2288"/>
                  <a:gd name="T105" fmla="*/ 820 h 1601"/>
                  <a:gd name="T106" fmla="*/ 642 w 2288"/>
                  <a:gd name="T107" fmla="*/ 820 h 1601"/>
                  <a:gd name="T108" fmla="*/ 940 w 2288"/>
                  <a:gd name="T109" fmla="*/ 698 h 1601"/>
                  <a:gd name="T110" fmla="*/ 560 w 2288"/>
                  <a:gd name="T111" fmla="*/ 808 h 1601"/>
                  <a:gd name="T112" fmla="*/ 560 w 2288"/>
                  <a:gd name="T113" fmla="*/ 808 h 1601"/>
                  <a:gd name="T114" fmla="*/ 854 w 2288"/>
                  <a:gd name="T115" fmla="*/ 730 h 1601"/>
                  <a:gd name="T116" fmla="*/ 606 w 2288"/>
                  <a:gd name="T117" fmla="*/ 756 h 1601"/>
                  <a:gd name="T118" fmla="*/ 606 w 2288"/>
                  <a:gd name="T119" fmla="*/ 756 h 1601"/>
                  <a:gd name="T120" fmla="*/ 606 w 2288"/>
                  <a:gd name="T121" fmla="*/ 756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8" h="1601">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1794" y="217"/>
                    </a:moveTo>
                    <a:cubicBezTo>
                      <a:pt x="1723" y="217"/>
                      <a:pt x="1655" y="231"/>
                      <a:pt x="1595" y="259"/>
                    </a:cubicBezTo>
                    <a:cubicBezTo>
                      <a:pt x="1525" y="133"/>
                      <a:pt x="1393" y="50"/>
                      <a:pt x="1241" y="50"/>
                    </a:cubicBezTo>
                    <a:cubicBezTo>
                      <a:pt x="1128" y="50"/>
                      <a:pt x="1026" y="97"/>
                      <a:pt x="952" y="174"/>
                    </a:cubicBezTo>
                    <a:cubicBezTo>
                      <a:pt x="871" y="68"/>
                      <a:pt x="743" y="0"/>
                      <a:pt x="599" y="0"/>
                    </a:cubicBezTo>
                    <a:cubicBezTo>
                      <a:pt x="353" y="0"/>
                      <a:pt x="154" y="197"/>
                      <a:pt x="154" y="442"/>
                    </a:cubicBezTo>
                    <a:cubicBezTo>
                      <a:pt x="154" y="505"/>
                      <a:pt x="168" y="566"/>
                      <a:pt x="191" y="620"/>
                    </a:cubicBezTo>
                    <a:cubicBezTo>
                      <a:pt x="77" y="686"/>
                      <a:pt x="0" y="811"/>
                      <a:pt x="0" y="954"/>
                    </a:cubicBezTo>
                    <a:cubicBezTo>
                      <a:pt x="0" y="1167"/>
                      <a:pt x="171" y="1339"/>
                      <a:pt x="382" y="1339"/>
                    </a:cubicBezTo>
                    <a:cubicBezTo>
                      <a:pt x="409" y="1339"/>
                      <a:pt x="435" y="1337"/>
                      <a:pt x="460" y="1332"/>
                    </a:cubicBezTo>
                    <a:cubicBezTo>
                      <a:pt x="518" y="1489"/>
                      <a:pt x="669" y="1601"/>
                      <a:pt x="846" y="1601"/>
                    </a:cubicBezTo>
                    <a:cubicBezTo>
                      <a:pt x="1016" y="1601"/>
                      <a:pt x="1162" y="1497"/>
                      <a:pt x="1225" y="1351"/>
                    </a:cubicBezTo>
                    <a:cubicBezTo>
                      <a:pt x="1272" y="1374"/>
                      <a:pt x="1326" y="1387"/>
                      <a:pt x="1382" y="1387"/>
                    </a:cubicBezTo>
                    <a:cubicBezTo>
                      <a:pt x="1517" y="1387"/>
                      <a:pt x="1635" y="1312"/>
                      <a:pt x="1697" y="1202"/>
                    </a:cubicBezTo>
                    <a:cubicBezTo>
                      <a:pt x="1729" y="1208"/>
                      <a:pt x="1761" y="1211"/>
                      <a:pt x="1794" y="1211"/>
                    </a:cubicBezTo>
                    <a:cubicBezTo>
                      <a:pt x="2066" y="1211"/>
                      <a:pt x="2288" y="989"/>
                      <a:pt x="2288" y="714"/>
                    </a:cubicBezTo>
                    <a:cubicBezTo>
                      <a:pt x="2288" y="439"/>
                      <a:pt x="2066" y="217"/>
                      <a:pt x="1794" y="217"/>
                    </a:cubicBezTo>
                    <a:close/>
                    <a:moveTo>
                      <a:pt x="490" y="794"/>
                    </a:moveTo>
                    <a:cubicBezTo>
                      <a:pt x="490" y="834"/>
                      <a:pt x="460" y="860"/>
                      <a:pt x="414" y="860"/>
                    </a:cubicBezTo>
                    <a:cubicBezTo>
                      <a:pt x="391" y="860"/>
                      <a:pt x="368" y="856"/>
                      <a:pt x="345" y="843"/>
                    </a:cubicBezTo>
                    <a:cubicBezTo>
                      <a:pt x="341" y="840"/>
                      <a:pt x="336" y="838"/>
                      <a:pt x="332" y="835"/>
                    </a:cubicBezTo>
                    <a:cubicBezTo>
                      <a:pt x="332" y="834"/>
                      <a:pt x="329" y="834"/>
                      <a:pt x="330" y="830"/>
                    </a:cubicBezTo>
                    <a:cubicBezTo>
                      <a:pt x="341" y="805"/>
                      <a:pt x="341" y="805"/>
                      <a:pt x="341" y="805"/>
                    </a:cubicBezTo>
                    <a:cubicBezTo>
                      <a:pt x="342" y="799"/>
                      <a:pt x="345" y="802"/>
                      <a:pt x="346" y="802"/>
                    </a:cubicBezTo>
                    <a:cubicBezTo>
                      <a:pt x="348" y="803"/>
                      <a:pt x="351" y="806"/>
                      <a:pt x="354" y="807"/>
                    </a:cubicBezTo>
                    <a:cubicBezTo>
                      <a:pt x="382" y="825"/>
                      <a:pt x="406" y="825"/>
                      <a:pt x="415" y="825"/>
                    </a:cubicBezTo>
                    <a:cubicBezTo>
                      <a:pt x="434" y="825"/>
                      <a:pt x="447" y="814"/>
                      <a:pt x="447" y="799"/>
                    </a:cubicBezTo>
                    <a:cubicBezTo>
                      <a:pt x="447" y="798"/>
                      <a:pt x="447" y="798"/>
                      <a:pt x="447" y="798"/>
                    </a:cubicBezTo>
                    <a:cubicBezTo>
                      <a:pt x="447" y="783"/>
                      <a:pt x="428" y="776"/>
                      <a:pt x="406" y="770"/>
                    </a:cubicBezTo>
                    <a:cubicBezTo>
                      <a:pt x="401" y="769"/>
                      <a:pt x="401" y="769"/>
                      <a:pt x="401" y="769"/>
                    </a:cubicBezTo>
                    <a:cubicBezTo>
                      <a:pt x="369" y="760"/>
                      <a:pt x="337" y="747"/>
                      <a:pt x="337" y="707"/>
                    </a:cubicBezTo>
                    <a:cubicBezTo>
                      <a:pt x="337" y="688"/>
                      <a:pt x="344" y="672"/>
                      <a:pt x="357" y="661"/>
                    </a:cubicBezTo>
                    <a:cubicBezTo>
                      <a:pt x="370" y="649"/>
                      <a:pt x="388" y="643"/>
                      <a:pt x="410" y="643"/>
                    </a:cubicBezTo>
                    <a:cubicBezTo>
                      <a:pt x="414" y="643"/>
                      <a:pt x="414" y="643"/>
                      <a:pt x="414" y="643"/>
                    </a:cubicBezTo>
                    <a:cubicBezTo>
                      <a:pt x="440" y="643"/>
                      <a:pt x="464" y="650"/>
                      <a:pt x="482" y="661"/>
                    </a:cubicBezTo>
                    <a:cubicBezTo>
                      <a:pt x="483" y="662"/>
                      <a:pt x="484" y="665"/>
                      <a:pt x="483" y="667"/>
                    </a:cubicBezTo>
                    <a:cubicBezTo>
                      <a:pt x="483" y="668"/>
                      <a:pt x="475" y="690"/>
                      <a:pt x="474" y="693"/>
                    </a:cubicBezTo>
                    <a:cubicBezTo>
                      <a:pt x="473" y="697"/>
                      <a:pt x="468" y="694"/>
                      <a:pt x="468" y="694"/>
                    </a:cubicBezTo>
                    <a:cubicBezTo>
                      <a:pt x="452" y="685"/>
                      <a:pt x="428" y="679"/>
                      <a:pt x="409" y="679"/>
                    </a:cubicBezTo>
                    <a:cubicBezTo>
                      <a:pt x="390" y="679"/>
                      <a:pt x="378" y="688"/>
                      <a:pt x="378" y="702"/>
                    </a:cubicBezTo>
                    <a:cubicBezTo>
                      <a:pt x="378" y="710"/>
                      <a:pt x="383" y="715"/>
                      <a:pt x="391" y="719"/>
                    </a:cubicBezTo>
                    <a:cubicBezTo>
                      <a:pt x="399" y="724"/>
                      <a:pt x="410" y="727"/>
                      <a:pt x="422" y="731"/>
                    </a:cubicBezTo>
                    <a:cubicBezTo>
                      <a:pt x="425" y="733"/>
                      <a:pt x="425" y="733"/>
                      <a:pt x="425" y="733"/>
                    </a:cubicBezTo>
                    <a:cubicBezTo>
                      <a:pt x="456" y="743"/>
                      <a:pt x="490" y="756"/>
                      <a:pt x="490" y="793"/>
                    </a:cubicBezTo>
                    <a:cubicBezTo>
                      <a:pt x="490" y="794"/>
                      <a:pt x="490" y="794"/>
                      <a:pt x="490" y="794"/>
                    </a:cubicBezTo>
                    <a:close/>
                    <a:moveTo>
                      <a:pt x="685" y="842"/>
                    </a:moveTo>
                    <a:cubicBezTo>
                      <a:pt x="685" y="842"/>
                      <a:pt x="685" y="846"/>
                      <a:pt x="682" y="847"/>
                    </a:cubicBezTo>
                    <a:cubicBezTo>
                      <a:pt x="682" y="847"/>
                      <a:pt x="677" y="848"/>
                      <a:pt x="672" y="848"/>
                    </a:cubicBezTo>
                    <a:cubicBezTo>
                      <a:pt x="668" y="849"/>
                      <a:pt x="652" y="853"/>
                      <a:pt x="638" y="855"/>
                    </a:cubicBezTo>
                    <a:cubicBezTo>
                      <a:pt x="626" y="857"/>
                      <a:pt x="613" y="858"/>
                      <a:pt x="599" y="858"/>
                    </a:cubicBezTo>
                    <a:cubicBezTo>
                      <a:pt x="586" y="858"/>
                      <a:pt x="574" y="857"/>
                      <a:pt x="564" y="855"/>
                    </a:cubicBezTo>
                    <a:cubicBezTo>
                      <a:pt x="552" y="852"/>
                      <a:pt x="543" y="848"/>
                      <a:pt x="537" y="843"/>
                    </a:cubicBezTo>
                    <a:cubicBezTo>
                      <a:pt x="529" y="838"/>
                      <a:pt x="523" y="830"/>
                      <a:pt x="519" y="823"/>
                    </a:cubicBezTo>
                    <a:cubicBezTo>
                      <a:pt x="515" y="814"/>
                      <a:pt x="513" y="805"/>
                      <a:pt x="513" y="792"/>
                    </a:cubicBezTo>
                    <a:cubicBezTo>
                      <a:pt x="513" y="780"/>
                      <a:pt x="515" y="770"/>
                      <a:pt x="520" y="762"/>
                    </a:cubicBezTo>
                    <a:cubicBezTo>
                      <a:pt x="525" y="753"/>
                      <a:pt x="532" y="745"/>
                      <a:pt x="540" y="739"/>
                    </a:cubicBezTo>
                    <a:cubicBezTo>
                      <a:pt x="547" y="734"/>
                      <a:pt x="556" y="730"/>
                      <a:pt x="567" y="726"/>
                    </a:cubicBezTo>
                    <a:cubicBezTo>
                      <a:pt x="578" y="724"/>
                      <a:pt x="588" y="722"/>
                      <a:pt x="600" y="722"/>
                    </a:cubicBezTo>
                    <a:cubicBezTo>
                      <a:pt x="608" y="722"/>
                      <a:pt x="615" y="722"/>
                      <a:pt x="620" y="724"/>
                    </a:cubicBezTo>
                    <a:cubicBezTo>
                      <a:pt x="620" y="724"/>
                      <a:pt x="631" y="724"/>
                      <a:pt x="642" y="726"/>
                    </a:cubicBezTo>
                    <a:cubicBezTo>
                      <a:pt x="642" y="720"/>
                      <a:pt x="642" y="720"/>
                      <a:pt x="642" y="720"/>
                    </a:cubicBezTo>
                    <a:cubicBezTo>
                      <a:pt x="642" y="703"/>
                      <a:pt x="638" y="694"/>
                      <a:pt x="632" y="689"/>
                    </a:cubicBezTo>
                    <a:cubicBezTo>
                      <a:pt x="624" y="683"/>
                      <a:pt x="613" y="680"/>
                      <a:pt x="599" y="680"/>
                    </a:cubicBezTo>
                    <a:cubicBezTo>
                      <a:pt x="599" y="680"/>
                      <a:pt x="567" y="680"/>
                      <a:pt x="541" y="693"/>
                    </a:cubicBezTo>
                    <a:cubicBezTo>
                      <a:pt x="540" y="694"/>
                      <a:pt x="538" y="694"/>
                      <a:pt x="538" y="694"/>
                    </a:cubicBezTo>
                    <a:cubicBezTo>
                      <a:pt x="538" y="694"/>
                      <a:pt x="536" y="695"/>
                      <a:pt x="534" y="693"/>
                    </a:cubicBezTo>
                    <a:cubicBezTo>
                      <a:pt x="525" y="667"/>
                      <a:pt x="525" y="667"/>
                      <a:pt x="525" y="667"/>
                    </a:cubicBezTo>
                    <a:cubicBezTo>
                      <a:pt x="524" y="663"/>
                      <a:pt x="527" y="662"/>
                      <a:pt x="527" y="662"/>
                    </a:cubicBezTo>
                    <a:cubicBezTo>
                      <a:pt x="538" y="653"/>
                      <a:pt x="567" y="647"/>
                      <a:pt x="567" y="647"/>
                    </a:cubicBezTo>
                    <a:cubicBezTo>
                      <a:pt x="577" y="645"/>
                      <a:pt x="592" y="644"/>
                      <a:pt x="602" y="644"/>
                    </a:cubicBezTo>
                    <a:cubicBezTo>
                      <a:pt x="629" y="644"/>
                      <a:pt x="650" y="649"/>
                      <a:pt x="664" y="662"/>
                    </a:cubicBezTo>
                    <a:cubicBezTo>
                      <a:pt x="678" y="675"/>
                      <a:pt x="685" y="694"/>
                      <a:pt x="685" y="721"/>
                    </a:cubicBezTo>
                    <a:cubicBezTo>
                      <a:pt x="685" y="842"/>
                      <a:pt x="685" y="842"/>
                      <a:pt x="685" y="842"/>
                    </a:cubicBezTo>
                    <a:close/>
                    <a:moveTo>
                      <a:pt x="770" y="851"/>
                    </a:moveTo>
                    <a:cubicBezTo>
                      <a:pt x="770" y="852"/>
                      <a:pt x="769" y="855"/>
                      <a:pt x="767" y="855"/>
                    </a:cubicBezTo>
                    <a:cubicBezTo>
                      <a:pt x="767" y="855"/>
                      <a:pt x="767" y="855"/>
                      <a:pt x="732" y="855"/>
                    </a:cubicBezTo>
                    <a:cubicBezTo>
                      <a:pt x="729" y="855"/>
                      <a:pt x="728" y="852"/>
                      <a:pt x="728" y="851"/>
                    </a:cubicBezTo>
                    <a:cubicBezTo>
                      <a:pt x="728" y="851"/>
                      <a:pt x="728" y="851"/>
                      <a:pt x="728" y="567"/>
                    </a:cubicBezTo>
                    <a:cubicBezTo>
                      <a:pt x="728" y="564"/>
                      <a:pt x="729" y="563"/>
                      <a:pt x="732" y="563"/>
                    </a:cubicBezTo>
                    <a:cubicBezTo>
                      <a:pt x="732" y="563"/>
                      <a:pt x="732" y="563"/>
                      <a:pt x="767" y="563"/>
                    </a:cubicBezTo>
                    <a:cubicBezTo>
                      <a:pt x="769" y="563"/>
                      <a:pt x="770" y="564"/>
                      <a:pt x="770" y="567"/>
                    </a:cubicBezTo>
                    <a:lnTo>
                      <a:pt x="770" y="851"/>
                    </a:lnTo>
                    <a:close/>
                    <a:moveTo>
                      <a:pt x="990" y="760"/>
                    </a:moveTo>
                    <a:cubicBezTo>
                      <a:pt x="990" y="762"/>
                      <a:pt x="986" y="762"/>
                      <a:pt x="986" y="762"/>
                    </a:cubicBezTo>
                    <a:cubicBezTo>
                      <a:pt x="854" y="762"/>
                      <a:pt x="854" y="762"/>
                      <a:pt x="854" y="762"/>
                    </a:cubicBezTo>
                    <a:cubicBezTo>
                      <a:pt x="855" y="783"/>
                      <a:pt x="859" y="797"/>
                      <a:pt x="869" y="807"/>
                    </a:cubicBezTo>
                    <a:cubicBezTo>
                      <a:pt x="878" y="816"/>
                      <a:pt x="894" y="823"/>
                      <a:pt x="914" y="823"/>
                    </a:cubicBezTo>
                    <a:cubicBezTo>
                      <a:pt x="946" y="823"/>
                      <a:pt x="959" y="816"/>
                      <a:pt x="969" y="812"/>
                    </a:cubicBezTo>
                    <a:cubicBezTo>
                      <a:pt x="969" y="812"/>
                      <a:pt x="973" y="811"/>
                      <a:pt x="974" y="815"/>
                    </a:cubicBezTo>
                    <a:cubicBezTo>
                      <a:pt x="982" y="839"/>
                      <a:pt x="982" y="839"/>
                      <a:pt x="982" y="839"/>
                    </a:cubicBezTo>
                    <a:cubicBezTo>
                      <a:pt x="985" y="843"/>
                      <a:pt x="983" y="844"/>
                      <a:pt x="982" y="846"/>
                    </a:cubicBezTo>
                    <a:cubicBezTo>
                      <a:pt x="973" y="849"/>
                      <a:pt x="953" y="858"/>
                      <a:pt x="915" y="858"/>
                    </a:cubicBezTo>
                    <a:cubicBezTo>
                      <a:pt x="896" y="858"/>
                      <a:pt x="880" y="856"/>
                      <a:pt x="867" y="851"/>
                    </a:cubicBezTo>
                    <a:cubicBezTo>
                      <a:pt x="854" y="846"/>
                      <a:pt x="842" y="838"/>
                      <a:pt x="833" y="829"/>
                    </a:cubicBezTo>
                    <a:cubicBezTo>
                      <a:pt x="824" y="819"/>
                      <a:pt x="818" y="808"/>
                      <a:pt x="814" y="794"/>
                    </a:cubicBezTo>
                    <a:cubicBezTo>
                      <a:pt x="810" y="783"/>
                      <a:pt x="808" y="767"/>
                      <a:pt x="808" y="752"/>
                    </a:cubicBezTo>
                    <a:cubicBezTo>
                      <a:pt x="808" y="738"/>
                      <a:pt x="810" y="724"/>
                      <a:pt x="814" y="710"/>
                    </a:cubicBezTo>
                    <a:cubicBezTo>
                      <a:pt x="818" y="697"/>
                      <a:pt x="824" y="685"/>
                      <a:pt x="832" y="676"/>
                    </a:cubicBezTo>
                    <a:cubicBezTo>
                      <a:pt x="840" y="666"/>
                      <a:pt x="850" y="658"/>
                      <a:pt x="863" y="652"/>
                    </a:cubicBezTo>
                    <a:cubicBezTo>
                      <a:pt x="874" y="647"/>
                      <a:pt x="890" y="644"/>
                      <a:pt x="906" y="644"/>
                    </a:cubicBezTo>
                    <a:cubicBezTo>
                      <a:pt x="921" y="644"/>
                      <a:pt x="933" y="647"/>
                      <a:pt x="944" y="652"/>
                    </a:cubicBezTo>
                    <a:cubicBezTo>
                      <a:pt x="953" y="656"/>
                      <a:pt x="960" y="662"/>
                      <a:pt x="969" y="671"/>
                    </a:cubicBezTo>
                    <a:cubicBezTo>
                      <a:pt x="974" y="676"/>
                      <a:pt x="983" y="689"/>
                      <a:pt x="986" y="702"/>
                    </a:cubicBezTo>
                    <a:cubicBezTo>
                      <a:pt x="995" y="731"/>
                      <a:pt x="990" y="757"/>
                      <a:pt x="990" y="760"/>
                    </a:cubicBezTo>
                    <a:close/>
                    <a:moveTo>
                      <a:pt x="1100" y="860"/>
                    </a:moveTo>
                    <a:cubicBezTo>
                      <a:pt x="1077" y="860"/>
                      <a:pt x="1055" y="856"/>
                      <a:pt x="1032" y="843"/>
                    </a:cubicBezTo>
                    <a:cubicBezTo>
                      <a:pt x="1027" y="840"/>
                      <a:pt x="1023" y="838"/>
                      <a:pt x="1019" y="835"/>
                    </a:cubicBezTo>
                    <a:cubicBezTo>
                      <a:pt x="1018" y="834"/>
                      <a:pt x="1017" y="834"/>
                      <a:pt x="1018" y="830"/>
                    </a:cubicBezTo>
                    <a:cubicBezTo>
                      <a:pt x="1027" y="805"/>
                      <a:pt x="1027" y="805"/>
                      <a:pt x="1027" y="805"/>
                    </a:cubicBezTo>
                    <a:cubicBezTo>
                      <a:pt x="1028" y="801"/>
                      <a:pt x="1032" y="802"/>
                      <a:pt x="1033" y="802"/>
                    </a:cubicBezTo>
                    <a:cubicBezTo>
                      <a:pt x="1036" y="805"/>
                      <a:pt x="1037" y="806"/>
                      <a:pt x="1041" y="807"/>
                    </a:cubicBezTo>
                    <a:cubicBezTo>
                      <a:pt x="1068" y="825"/>
                      <a:pt x="1094" y="825"/>
                      <a:pt x="1101" y="825"/>
                    </a:cubicBezTo>
                    <a:cubicBezTo>
                      <a:pt x="1122" y="825"/>
                      <a:pt x="1135" y="814"/>
                      <a:pt x="1135" y="799"/>
                    </a:cubicBezTo>
                    <a:cubicBezTo>
                      <a:pt x="1135" y="799"/>
                      <a:pt x="1135" y="799"/>
                      <a:pt x="1135" y="798"/>
                    </a:cubicBezTo>
                    <a:cubicBezTo>
                      <a:pt x="1135" y="783"/>
                      <a:pt x="1116" y="776"/>
                      <a:pt x="1092" y="770"/>
                    </a:cubicBezTo>
                    <a:cubicBezTo>
                      <a:pt x="1092" y="770"/>
                      <a:pt x="1092" y="770"/>
                      <a:pt x="1087" y="769"/>
                    </a:cubicBezTo>
                    <a:cubicBezTo>
                      <a:pt x="1072" y="764"/>
                      <a:pt x="1056" y="759"/>
                      <a:pt x="1044" y="749"/>
                    </a:cubicBezTo>
                    <a:cubicBezTo>
                      <a:pt x="1032" y="740"/>
                      <a:pt x="1023" y="727"/>
                      <a:pt x="1023" y="707"/>
                    </a:cubicBezTo>
                    <a:cubicBezTo>
                      <a:pt x="1023" y="670"/>
                      <a:pt x="1054" y="643"/>
                      <a:pt x="1096" y="643"/>
                    </a:cubicBezTo>
                    <a:cubicBezTo>
                      <a:pt x="1096" y="643"/>
                      <a:pt x="1096" y="643"/>
                      <a:pt x="1101" y="643"/>
                    </a:cubicBezTo>
                    <a:cubicBezTo>
                      <a:pt x="1127" y="643"/>
                      <a:pt x="1150" y="650"/>
                      <a:pt x="1168" y="661"/>
                    </a:cubicBezTo>
                    <a:cubicBezTo>
                      <a:pt x="1171" y="662"/>
                      <a:pt x="1172" y="665"/>
                      <a:pt x="1171" y="667"/>
                    </a:cubicBezTo>
                    <a:cubicBezTo>
                      <a:pt x="1169" y="668"/>
                      <a:pt x="1162" y="690"/>
                      <a:pt x="1162" y="693"/>
                    </a:cubicBezTo>
                    <a:cubicBezTo>
                      <a:pt x="1159" y="697"/>
                      <a:pt x="1155" y="694"/>
                      <a:pt x="1155" y="694"/>
                    </a:cubicBezTo>
                    <a:cubicBezTo>
                      <a:pt x="1140" y="685"/>
                      <a:pt x="1116" y="679"/>
                      <a:pt x="1095" y="679"/>
                    </a:cubicBezTo>
                    <a:cubicBezTo>
                      <a:pt x="1086" y="679"/>
                      <a:pt x="1079" y="681"/>
                      <a:pt x="1074" y="685"/>
                    </a:cubicBezTo>
                    <a:cubicBezTo>
                      <a:pt x="1068" y="689"/>
                      <a:pt x="1066" y="695"/>
                      <a:pt x="1066" y="702"/>
                    </a:cubicBezTo>
                    <a:cubicBezTo>
                      <a:pt x="1066" y="717"/>
                      <a:pt x="1086" y="724"/>
                      <a:pt x="1109" y="731"/>
                    </a:cubicBezTo>
                    <a:cubicBezTo>
                      <a:pt x="1109" y="731"/>
                      <a:pt x="1109" y="731"/>
                      <a:pt x="1113" y="733"/>
                    </a:cubicBezTo>
                    <a:cubicBezTo>
                      <a:pt x="1144" y="743"/>
                      <a:pt x="1177" y="756"/>
                      <a:pt x="1177" y="793"/>
                    </a:cubicBezTo>
                    <a:cubicBezTo>
                      <a:pt x="1177" y="793"/>
                      <a:pt x="1177" y="793"/>
                      <a:pt x="1177" y="794"/>
                    </a:cubicBezTo>
                    <a:cubicBezTo>
                      <a:pt x="1177" y="834"/>
                      <a:pt x="1148" y="860"/>
                      <a:pt x="1100" y="860"/>
                    </a:cubicBezTo>
                    <a:close/>
                    <a:moveTo>
                      <a:pt x="1332" y="680"/>
                    </a:moveTo>
                    <a:cubicBezTo>
                      <a:pt x="1331" y="684"/>
                      <a:pt x="1327" y="684"/>
                      <a:pt x="1327" y="684"/>
                    </a:cubicBezTo>
                    <a:cubicBezTo>
                      <a:pt x="1327" y="684"/>
                      <a:pt x="1327" y="684"/>
                      <a:pt x="1284" y="684"/>
                    </a:cubicBezTo>
                    <a:cubicBezTo>
                      <a:pt x="1284" y="684"/>
                      <a:pt x="1284" y="684"/>
                      <a:pt x="1254" y="853"/>
                    </a:cubicBezTo>
                    <a:cubicBezTo>
                      <a:pt x="1252" y="870"/>
                      <a:pt x="1248" y="885"/>
                      <a:pt x="1243" y="897"/>
                    </a:cubicBezTo>
                    <a:cubicBezTo>
                      <a:pt x="1237" y="910"/>
                      <a:pt x="1234" y="919"/>
                      <a:pt x="1226" y="928"/>
                    </a:cubicBezTo>
                    <a:cubicBezTo>
                      <a:pt x="1218" y="936"/>
                      <a:pt x="1210" y="941"/>
                      <a:pt x="1200" y="945"/>
                    </a:cubicBezTo>
                    <a:cubicBezTo>
                      <a:pt x="1191" y="947"/>
                      <a:pt x="1181" y="950"/>
                      <a:pt x="1168" y="950"/>
                    </a:cubicBezTo>
                    <a:cubicBezTo>
                      <a:pt x="1163" y="950"/>
                      <a:pt x="1157" y="950"/>
                      <a:pt x="1149" y="947"/>
                    </a:cubicBezTo>
                    <a:cubicBezTo>
                      <a:pt x="1144" y="946"/>
                      <a:pt x="1140" y="946"/>
                      <a:pt x="1136" y="945"/>
                    </a:cubicBezTo>
                    <a:cubicBezTo>
                      <a:pt x="1135" y="943"/>
                      <a:pt x="1134" y="942"/>
                      <a:pt x="1135" y="938"/>
                    </a:cubicBezTo>
                    <a:cubicBezTo>
                      <a:pt x="1136" y="936"/>
                      <a:pt x="1144" y="915"/>
                      <a:pt x="1145" y="911"/>
                    </a:cubicBezTo>
                    <a:cubicBezTo>
                      <a:pt x="1146" y="909"/>
                      <a:pt x="1149" y="910"/>
                      <a:pt x="1149" y="910"/>
                    </a:cubicBezTo>
                    <a:cubicBezTo>
                      <a:pt x="1151" y="911"/>
                      <a:pt x="1153" y="911"/>
                      <a:pt x="1157" y="912"/>
                    </a:cubicBezTo>
                    <a:cubicBezTo>
                      <a:pt x="1167" y="912"/>
                      <a:pt x="1167" y="912"/>
                      <a:pt x="1167" y="912"/>
                    </a:cubicBezTo>
                    <a:cubicBezTo>
                      <a:pt x="1173" y="912"/>
                      <a:pt x="1178" y="912"/>
                      <a:pt x="1182" y="911"/>
                    </a:cubicBezTo>
                    <a:cubicBezTo>
                      <a:pt x="1189" y="909"/>
                      <a:pt x="1191" y="906"/>
                      <a:pt x="1195" y="901"/>
                    </a:cubicBezTo>
                    <a:cubicBezTo>
                      <a:pt x="1198" y="897"/>
                      <a:pt x="1202" y="891"/>
                      <a:pt x="1204" y="883"/>
                    </a:cubicBezTo>
                    <a:cubicBezTo>
                      <a:pt x="1207" y="874"/>
                      <a:pt x="1209" y="864"/>
                      <a:pt x="1212" y="849"/>
                    </a:cubicBezTo>
                    <a:cubicBezTo>
                      <a:pt x="1212" y="849"/>
                      <a:pt x="1212" y="849"/>
                      <a:pt x="1241" y="684"/>
                    </a:cubicBezTo>
                    <a:cubicBezTo>
                      <a:pt x="1241" y="684"/>
                      <a:pt x="1241" y="684"/>
                      <a:pt x="1212" y="684"/>
                    </a:cubicBezTo>
                    <a:cubicBezTo>
                      <a:pt x="1209" y="684"/>
                      <a:pt x="1208" y="683"/>
                      <a:pt x="1208" y="680"/>
                    </a:cubicBezTo>
                    <a:cubicBezTo>
                      <a:pt x="1208" y="680"/>
                      <a:pt x="1208" y="680"/>
                      <a:pt x="1213" y="652"/>
                    </a:cubicBezTo>
                    <a:cubicBezTo>
                      <a:pt x="1214" y="648"/>
                      <a:pt x="1217" y="648"/>
                      <a:pt x="1217" y="648"/>
                    </a:cubicBezTo>
                    <a:cubicBezTo>
                      <a:pt x="1217" y="648"/>
                      <a:pt x="1217" y="648"/>
                      <a:pt x="1248" y="648"/>
                    </a:cubicBezTo>
                    <a:cubicBezTo>
                      <a:pt x="1248" y="648"/>
                      <a:pt x="1248" y="648"/>
                      <a:pt x="1249" y="639"/>
                    </a:cubicBezTo>
                    <a:cubicBezTo>
                      <a:pt x="1254" y="612"/>
                      <a:pt x="1263" y="591"/>
                      <a:pt x="1276" y="579"/>
                    </a:cubicBezTo>
                    <a:cubicBezTo>
                      <a:pt x="1289" y="566"/>
                      <a:pt x="1308" y="558"/>
                      <a:pt x="1332" y="558"/>
                    </a:cubicBezTo>
                    <a:cubicBezTo>
                      <a:pt x="1339" y="558"/>
                      <a:pt x="1345" y="559"/>
                      <a:pt x="1350" y="561"/>
                    </a:cubicBezTo>
                    <a:cubicBezTo>
                      <a:pt x="1355" y="561"/>
                      <a:pt x="1359" y="562"/>
                      <a:pt x="1363" y="563"/>
                    </a:cubicBezTo>
                    <a:cubicBezTo>
                      <a:pt x="1364" y="563"/>
                      <a:pt x="1367" y="564"/>
                      <a:pt x="1366" y="568"/>
                    </a:cubicBezTo>
                    <a:cubicBezTo>
                      <a:pt x="1366" y="568"/>
                      <a:pt x="1366" y="568"/>
                      <a:pt x="1355" y="595"/>
                    </a:cubicBezTo>
                    <a:cubicBezTo>
                      <a:pt x="1354" y="598"/>
                      <a:pt x="1354" y="599"/>
                      <a:pt x="1350" y="598"/>
                    </a:cubicBezTo>
                    <a:cubicBezTo>
                      <a:pt x="1349" y="598"/>
                      <a:pt x="1346" y="596"/>
                      <a:pt x="1343" y="596"/>
                    </a:cubicBezTo>
                    <a:cubicBezTo>
                      <a:pt x="1340" y="595"/>
                      <a:pt x="1336" y="595"/>
                      <a:pt x="1332" y="595"/>
                    </a:cubicBezTo>
                    <a:cubicBezTo>
                      <a:pt x="1327" y="595"/>
                      <a:pt x="1322" y="595"/>
                      <a:pt x="1318" y="596"/>
                    </a:cubicBezTo>
                    <a:cubicBezTo>
                      <a:pt x="1313" y="598"/>
                      <a:pt x="1311" y="600"/>
                      <a:pt x="1307" y="604"/>
                    </a:cubicBezTo>
                    <a:cubicBezTo>
                      <a:pt x="1303" y="607"/>
                      <a:pt x="1299" y="612"/>
                      <a:pt x="1298" y="618"/>
                    </a:cubicBezTo>
                    <a:cubicBezTo>
                      <a:pt x="1293" y="632"/>
                      <a:pt x="1290" y="647"/>
                      <a:pt x="1290" y="648"/>
                    </a:cubicBezTo>
                    <a:cubicBezTo>
                      <a:pt x="1290" y="648"/>
                      <a:pt x="1290" y="648"/>
                      <a:pt x="1332" y="648"/>
                    </a:cubicBezTo>
                    <a:cubicBezTo>
                      <a:pt x="1336" y="648"/>
                      <a:pt x="1337" y="649"/>
                      <a:pt x="1337" y="652"/>
                    </a:cubicBezTo>
                    <a:cubicBezTo>
                      <a:pt x="1337" y="652"/>
                      <a:pt x="1337" y="652"/>
                      <a:pt x="1332" y="680"/>
                    </a:cubicBezTo>
                    <a:close/>
                    <a:moveTo>
                      <a:pt x="1526" y="793"/>
                    </a:moveTo>
                    <a:cubicBezTo>
                      <a:pt x="1522" y="807"/>
                      <a:pt x="1516" y="817"/>
                      <a:pt x="1508" y="828"/>
                    </a:cubicBezTo>
                    <a:cubicBezTo>
                      <a:pt x="1500" y="837"/>
                      <a:pt x="1490" y="844"/>
                      <a:pt x="1479" y="851"/>
                    </a:cubicBezTo>
                    <a:cubicBezTo>
                      <a:pt x="1466" y="856"/>
                      <a:pt x="1452" y="858"/>
                      <a:pt x="1436" y="858"/>
                    </a:cubicBezTo>
                    <a:cubicBezTo>
                      <a:pt x="1421" y="858"/>
                      <a:pt x="1407" y="856"/>
                      <a:pt x="1394" y="851"/>
                    </a:cubicBezTo>
                    <a:cubicBezTo>
                      <a:pt x="1382" y="844"/>
                      <a:pt x="1372" y="837"/>
                      <a:pt x="1364" y="828"/>
                    </a:cubicBezTo>
                    <a:cubicBezTo>
                      <a:pt x="1357" y="817"/>
                      <a:pt x="1350" y="807"/>
                      <a:pt x="1346" y="793"/>
                    </a:cubicBezTo>
                    <a:cubicBezTo>
                      <a:pt x="1343" y="780"/>
                      <a:pt x="1340" y="766"/>
                      <a:pt x="1340" y="752"/>
                    </a:cubicBezTo>
                    <a:cubicBezTo>
                      <a:pt x="1340" y="736"/>
                      <a:pt x="1343" y="722"/>
                      <a:pt x="1346" y="710"/>
                    </a:cubicBezTo>
                    <a:cubicBezTo>
                      <a:pt x="1350" y="697"/>
                      <a:pt x="1357" y="685"/>
                      <a:pt x="1364" y="675"/>
                    </a:cubicBezTo>
                    <a:cubicBezTo>
                      <a:pt x="1372" y="666"/>
                      <a:pt x="1382" y="658"/>
                      <a:pt x="1394" y="652"/>
                    </a:cubicBezTo>
                    <a:cubicBezTo>
                      <a:pt x="1407" y="647"/>
                      <a:pt x="1421" y="644"/>
                      <a:pt x="1436" y="644"/>
                    </a:cubicBezTo>
                    <a:cubicBezTo>
                      <a:pt x="1452" y="644"/>
                      <a:pt x="1466" y="647"/>
                      <a:pt x="1479" y="652"/>
                    </a:cubicBezTo>
                    <a:cubicBezTo>
                      <a:pt x="1490" y="658"/>
                      <a:pt x="1500" y="666"/>
                      <a:pt x="1508" y="675"/>
                    </a:cubicBezTo>
                    <a:cubicBezTo>
                      <a:pt x="1516" y="685"/>
                      <a:pt x="1522" y="697"/>
                      <a:pt x="1526" y="710"/>
                    </a:cubicBezTo>
                    <a:cubicBezTo>
                      <a:pt x="1530" y="722"/>
                      <a:pt x="1532" y="736"/>
                      <a:pt x="1532" y="752"/>
                    </a:cubicBezTo>
                    <a:cubicBezTo>
                      <a:pt x="1532" y="766"/>
                      <a:pt x="1530" y="780"/>
                      <a:pt x="1526" y="793"/>
                    </a:cubicBezTo>
                    <a:close/>
                    <a:moveTo>
                      <a:pt x="1690" y="654"/>
                    </a:moveTo>
                    <a:cubicBezTo>
                      <a:pt x="1689" y="658"/>
                      <a:pt x="1683" y="676"/>
                      <a:pt x="1680" y="683"/>
                    </a:cubicBezTo>
                    <a:cubicBezTo>
                      <a:pt x="1680" y="685"/>
                      <a:pt x="1677" y="686"/>
                      <a:pt x="1675" y="686"/>
                    </a:cubicBezTo>
                    <a:cubicBezTo>
                      <a:pt x="1675" y="686"/>
                      <a:pt x="1667" y="684"/>
                      <a:pt x="1661" y="684"/>
                    </a:cubicBezTo>
                    <a:cubicBezTo>
                      <a:pt x="1656" y="684"/>
                      <a:pt x="1649" y="685"/>
                      <a:pt x="1643" y="686"/>
                    </a:cubicBezTo>
                    <a:cubicBezTo>
                      <a:pt x="1636" y="689"/>
                      <a:pt x="1631" y="692"/>
                      <a:pt x="1626" y="697"/>
                    </a:cubicBezTo>
                    <a:cubicBezTo>
                      <a:pt x="1622" y="702"/>
                      <a:pt x="1618" y="708"/>
                      <a:pt x="1615" y="716"/>
                    </a:cubicBezTo>
                    <a:cubicBezTo>
                      <a:pt x="1612" y="725"/>
                      <a:pt x="1611" y="738"/>
                      <a:pt x="1611" y="751"/>
                    </a:cubicBezTo>
                    <a:cubicBezTo>
                      <a:pt x="1611" y="751"/>
                      <a:pt x="1611" y="751"/>
                      <a:pt x="1611" y="851"/>
                    </a:cubicBezTo>
                    <a:cubicBezTo>
                      <a:pt x="1611" y="852"/>
                      <a:pt x="1609" y="855"/>
                      <a:pt x="1607" y="855"/>
                    </a:cubicBezTo>
                    <a:cubicBezTo>
                      <a:pt x="1607" y="855"/>
                      <a:pt x="1607" y="855"/>
                      <a:pt x="1572" y="855"/>
                    </a:cubicBezTo>
                    <a:cubicBezTo>
                      <a:pt x="1570" y="855"/>
                      <a:pt x="1568" y="852"/>
                      <a:pt x="1568" y="851"/>
                    </a:cubicBezTo>
                    <a:cubicBezTo>
                      <a:pt x="1568" y="851"/>
                      <a:pt x="1568" y="851"/>
                      <a:pt x="1568" y="652"/>
                    </a:cubicBezTo>
                    <a:cubicBezTo>
                      <a:pt x="1568" y="650"/>
                      <a:pt x="1570" y="648"/>
                      <a:pt x="1571" y="648"/>
                    </a:cubicBezTo>
                    <a:cubicBezTo>
                      <a:pt x="1571" y="648"/>
                      <a:pt x="1571" y="648"/>
                      <a:pt x="1606" y="648"/>
                    </a:cubicBezTo>
                    <a:cubicBezTo>
                      <a:pt x="1608" y="648"/>
                      <a:pt x="1609" y="650"/>
                      <a:pt x="1609" y="652"/>
                    </a:cubicBezTo>
                    <a:cubicBezTo>
                      <a:pt x="1609" y="652"/>
                      <a:pt x="1609" y="652"/>
                      <a:pt x="1609" y="668"/>
                    </a:cubicBezTo>
                    <a:cubicBezTo>
                      <a:pt x="1615" y="662"/>
                      <a:pt x="1624" y="656"/>
                      <a:pt x="1631" y="652"/>
                    </a:cubicBezTo>
                    <a:cubicBezTo>
                      <a:pt x="1640" y="648"/>
                      <a:pt x="1649" y="645"/>
                      <a:pt x="1666" y="647"/>
                    </a:cubicBezTo>
                    <a:cubicBezTo>
                      <a:pt x="1675" y="647"/>
                      <a:pt x="1686" y="649"/>
                      <a:pt x="1688" y="650"/>
                    </a:cubicBezTo>
                    <a:cubicBezTo>
                      <a:pt x="1689" y="650"/>
                      <a:pt x="1692" y="652"/>
                      <a:pt x="1690" y="654"/>
                    </a:cubicBezTo>
                    <a:close/>
                    <a:moveTo>
                      <a:pt x="1856" y="848"/>
                    </a:moveTo>
                    <a:cubicBezTo>
                      <a:pt x="1842" y="855"/>
                      <a:pt x="1821" y="858"/>
                      <a:pt x="1801" y="858"/>
                    </a:cubicBezTo>
                    <a:cubicBezTo>
                      <a:pt x="1767" y="858"/>
                      <a:pt x="1740" y="848"/>
                      <a:pt x="1724" y="829"/>
                    </a:cubicBezTo>
                    <a:cubicBezTo>
                      <a:pt x="1706" y="810"/>
                      <a:pt x="1697" y="784"/>
                      <a:pt x="1697" y="751"/>
                    </a:cubicBezTo>
                    <a:cubicBezTo>
                      <a:pt x="1697" y="736"/>
                      <a:pt x="1699" y="722"/>
                      <a:pt x="1703" y="710"/>
                    </a:cubicBezTo>
                    <a:cubicBezTo>
                      <a:pt x="1708" y="695"/>
                      <a:pt x="1715" y="685"/>
                      <a:pt x="1722" y="675"/>
                    </a:cubicBezTo>
                    <a:cubicBezTo>
                      <a:pt x="1731" y="666"/>
                      <a:pt x="1742" y="658"/>
                      <a:pt x="1754" y="652"/>
                    </a:cubicBezTo>
                    <a:cubicBezTo>
                      <a:pt x="1767" y="647"/>
                      <a:pt x="1781" y="644"/>
                      <a:pt x="1798" y="644"/>
                    </a:cubicBezTo>
                    <a:cubicBezTo>
                      <a:pt x="1808" y="644"/>
                      <a:pt x="1819" y="644"/>
                      <a:pt x="1828" y="645"/>
                    </a:cubicBezTo>
                    <a:cubicBezTo>
                      <a:pt x="1836" y="647"/>
                      <a:pt x="1848" y="650"/>
                      <a:pt x="1853" y="652"/>
                    </a:cubicBezTo>
                    <a:cubicBezTo>
                      <a:pt x="1854" y="653"/>
                      <a:pt x="1857" y="654"/>
                      <a:pt x="1856" y="657"/>
                    </a:cubicBezTo>
                    <a:cubicBezTo>
                      <a:pt x="1852" y="667"/>
                      <a:pt x="1849" y="674"/>
                      <a:pt x="1847" y="684"/>
                    </a:cubicBezTo>
                    <a:cubicBezTo>
                      <a:pt x="1844" y="688"/>
                      <a:pt x="1842" y="686"/>
                      <a:pt x="1842" y="686"/>
                    </a:cubicBezTo>
                    <a:cubicBezTo>
                      <a:pt x="1829" y="683"/>
                      <a:pt x="1816" y="680"/>
                      <a:pt x="1801" y="680"/>
                    </a:cubicBezTo>
                    <a:cubicBezTo>
                      <a:pt x="1781" y="680"/>
                      <a:pt x="1766" y="686"/>
                      <a:pt x="1757" y="699"/>
                    </a:cubicBezTo>
                    <a:cubicBezTo>
                      <a:pt x="1747" y="712"/>
                      <a:pt x="1742" y="729"/>
                      <a:pt x="1742" y="751"/>
                    </a:cubicBezTo>
                    <a:cubicBezTo>
                      <a:pt x="1742" y="775"/>
                      <a:pt x="1748" y="793"/>
                      <a:pt x="1758" y="805"/>
                    </a:cubicBezTo>
                    <a:cubicBezTo>
                      <a:pt x="1770" y="816"/>
                      <a:pt x="1784" y="821"/>
                      <a:pt x="1803" y="821"/>
                    </a:cubicBezTo>
                    <a:cubicBezTo>
                      <a:pt x="1811" y="821"/>
                      <a:pt x="1819" y="821"/>
                      <a:pt x="1825" y="820"/>
                    </a:cubicBezTo>
                    <a:cubicBezTo>
                      <a:pt x="1831" y="819"/>
                      <a:pt x="1838" y="817"/>
                      <a:pt x="1843" y="815"/>
                    </a:cubicBezTo>
                    <a:cubicBezTo>
                      <a:pt x="1843" y="815"/>
                      <a:pt x="1847" y="814"/>
                      <a:pt x="1848" y="817"/>
                    </a:cubicBezTo>
                    <a:cubicBezTo>
                      <a:pt x="1857" y="844"/>
                      <a:pt x="1857" y="844"/>
                      <a:pt x="1857" y="844"/>
                    </a:cubicBezTo>
                    <a:cubicBezTo>
                      <a:pt x="1858" y="847"/>
                      <a:pt x="1856" y="848"/>
                      <a:pt x="1856" y="848"/>
                    </a:cubicBezTo>
                    <a:close/>
                    <a:moveTo>
                      <a:pt x="2052" y="760"/>
                    </a:moveTo>
                    <a:cubicBezTo>
                      <a:pt x="2052" y="762"/>
                      <a:pt x="2048" y="762"/>
                      <a:pt x="2048" y="762"/>
                    </a:cubicBezTo>
                    <a:cubicBezTo>
                      <a:pt x="1916" y="762"/>
                      <a:pt x="1916" y="762"/>
                      <a:pt x="1916" y="762"/>
                    </a:cubicBezTo>
                    <a:cubicBezTo>
                      <a:pt x="1917" y="783"/>
                      <a:pt x="1921" y="797"/>
                      <a:pt x="1931" y="807"/>
                    </a:cubicBezTo>
                    <a:cubicBezTo>
                      <a:pt x="1940" y="816"/>
                      <a:pt x="1956" y="823"/>
                      <a:pt x="1976" y="823"/>
                    </a:cubicBezTo>
                    <a:cubicBezTo>
                      <a:pt x="2008" y="823"/>
                      <a:pt x="2021" y="816"/>
                      <a:pt x="2031" y="812"/>
                    </a:cubicBezTo>
                    <a:cubicBezTo>
                      <a:pt x="2031" y="812"/>
                      <a:pt x="2035" y="811"/>
                      <a:pt x="2037" y="815"/>
                    </a:cubicBezTo>
                    <a:cubicBezTo>
                      <a:pt x="2044" y="839"/>
                      <a:pt x="2044" y="839"/>
                      <a:pt x="2044" y="839"/>
                    </a:cubicBezTo>
                    <a:cubicBezTo>
                      <a:pt x="2047" y="843"/>
                      <a:pt x="2046" y="844"/>
                      <a:pt x="2044" y="846"/>
                    </a:cubicBezTo>
                    <a:cubicBezTo>
                      <a:pt x="2035" y="849"/>
                      <a:pt x="2015" y="858"/>
                      <a:pt x="1976" y="858"/>
                    </a:cubicBezTo>
                    <a:cubicBezTo>
                      <a:pt x="1958" y="858"/>
                      <a:pt x="1942" y="856"/>
                      <a:pt x="1929" y="851"/>
                    </a:cubicBezTo>
                    <a:cubicBezTo>
                      <a:pt x="1915" y="846"/>
                      <a:pt x="1904" y="838"/>
                      <a:pt x="1895" y="829"/>
                    </a:cubicBezTo>
                    <a:cubicBezTo>
                      <a:pt x="1887" y="819"/>
                      <a:pt x="1880" y="808"/>
                      <a:pt x="1876" y="794"/>
                    </a:cubicBezTo>
                    <a:cubicBezTo>
                      <a:pt x="1872" y="783"/>
                      <a:pt x="1870" y="767"/>
                      <a:pt x="1870" y="752"/>
                    </a:cubicBezTo>
                    <a:cubicBezTo>
                      <a:pt x="1870" y="738"/>
                      <a:pt x="1872" y="724"/>
                      <a:pt x="1876" y="710"/>
                    </a:cubicBezTo>
                    <a:cubicBezTo>
                      <a:pt x="1880" y="697"/>
                      <a:pt x="1887" y="685"/>
                      <a:pt x="1894" y="676"/>
                    </a:cubicBezTo>
                    <a:cubicBezTo>
                      <a:pt x="1902" y="666"/>
                      <a:pt x="1912" y="658"/>
                      <a:pt x="1925" y="652"/>
                    </a:cubicBezTo>
                    <a:cubicBezTo>
                      <a:pt x="1937" y="647"/>
                      <a:pt x="1952" y="644"/>
                      <a:pt x="1969" y="644"/>
                    </a:cubicBezTo>
                    <a:cubicBezTo>
                      <a:pt x="1983" y="644"/>
                      <a:pt x="1996" y="647"/>
                      <a:pt x="2006" y="652"/>
                    </a:cubicBezTo>
                    <a:cubicBezTo>
                      <a:pt x="2015" y="656"/>
                      <a:pt x="2022" y="662"/>
                      <a:pt x="2031" y="671"/>
                    </a:cubicBezTo>
                    <a:cubicBezTo>
                      <a:pt x="2037" y="676"/>
                      <a:pt x="2046" y="689"/>
                      <a:pt x="2048" y="702"/>
                    </a:cubicBezTo>
                    <a:cubicBezTo>
                      <a:pt x="2057" y="731"/>
                      <a:pt x="2052" y="757"/>
                      <a:pt x="2052" y="760"/>
                    </a:cubicBezTo>
                    <a:close/>
                    <a:moveTo>
                      <a:pt x="1965" y="679"/>
                    </a:moveTo>
                    <a:cubicBezTo>
                      <a:pt x="1948" y="679"/>
                      <a:pt x="1935" y="686"/>
                      <a:pt x="1928" y="698"/>
                    </a:cubicBezTo>
                    <a:cubicBezTo>
                      <a:pt x="1922" y="707"/>
                      <a:pt x="1919" y="717"/>
                      <a:pt x="1916" y="730"/>
                    </a:cubicBezTo>
                    <a:cubicBezTo>
                      <a:pt x="2011" y="730"/>
                      <a:pt x="2011" y="730"/>
                      <a:pt x="2011" y="730"/>
                    </a:cubicBezTo>
                    <a:cubicBezTo>
                      <a:pt x="2010" y="717"/>
                      <a:pt x="2008" y="707"/>
                      <a:pt x="2002" y="698"/>
                    </a:cubicBezTo>
                    <a:cubicBezTo>
                      <a:pt x="1994" y="686"/>
                      <a:pt x="1983" y="679"/>
                      <a:pt x="1965" y="679"/>
                    </a:cubicBezTo>
                    <a:close/>
                    <a:moveTo>
                      <a:pt x="1436" y="680"/>
                    </a:move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ubicBezTo>
                      <a:pt x="1466" y="686"/>
                      <a:pt x="1454" y="680"/>
                      <a:pt x="1436" y="680"/>
                    </a:cubicBezTo>
                    <a:close/>
                    <a:moveTo>
                      <a:pt x="903" y="679"/>
                    </a:moveTo>
                    <a:cubicBezTo>
                      <a:pt x="886" y="679"/>
                      <a:pt x="873" y="686"/>
                      <a:pt x="865" y="698"/>
                    </a:cubicBezTo>
                    <a:cubicBezTo>
                      <a:pt x="860" y="707"/>
                      <a:pt x="856" y="717"/>
                      <a:pt x="854" y="730"/>
                    </a:cubicBezTo>
                    <a:cubicBezTo>
                      <a:pt x="949" y="730"/>
                      <a:pt x="949" y="730"/>
                      <a:pt x="949" y="730"/>
                    </a:cubicBezTo>
                    <a:cubicBezTo>
                      <a:pt x="948" y="717"/>
                      <a:pt x="946" y="707"/>
                      <a:pt x="940" y="698"/>
                    </a:cubicBezTo>
                    <a:cubicBezTo>
                      <a:pt x="932" y="686"/>
                      <a:pt x="921" y="679"/>
                      <a:pt x="903" y="679"/>
                    </a:cubicBezTo>
                    <a:close/>
                    <a:moveTo>
                      <a:pt x="568" y="766"/>
                    </a:move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ubicBezTo>
                      <a:pt x="579" y="756"/>
                      <a:pt x="568" y="766"/>
                      <a:pt x="568" y="76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82" name="Group 181"/>
            <p:cNvGrpSpPr/>
            <p:nvPr/>
          </p:nvGrpSpPr>
          <p:grpSpPr>
            <a:xfrm>
              <a:off x="415110" y="4243457"/>
              <a:ext cx="745425" cy="745425"/>
              <a:chOff x="583429" y="5086345"/>
              <a:chExt cx="745531" cy="745531"/>
            </a:xfrm>
          </p:grpSpPr>
          <p:sp>
            <p:nvSpPr>
              <p:cNvPr id="183" name="Oval 182"/>
              <p:cNvSpPr/>
              <p:nvPr/>
            </p:nvSpPr>
            <p:spPr bwMode="auto">
              <a:xfrm>
                <a:off x="583429" y="5086345"/>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17"/>
              <p:cNvSpPr>
                <a:spLocks noChangeAspect="1" noEditPoints="1"/>
              </p:cNvSpPr>
              <p:nvPr/>
            </p:nvSpPr>
            <p:spPr bwMode="auto">
              <a:xfrm>
                <a:off x="712295" y="5324734"/>
                <a:ext cx="487798" cy="211225"/>
              </a:xfrm>
              <a:custGeom>
                <a:avLst/>
                <a:gdLst>
                  <a:gd name="T0" fmla="*/ 526 w 706"/>
                  <a:gd name="T1" fmla="*/ 122 h 304"/>
                  <a:gd name="T2" fmla="*/ 512 w 706"/>
                  <a:gd name="T3" fmla="*/ 90 h 304"/>
                  <a:gd name="T4" fmla="*/ 482 w 706"/>
                  <a:gd name="T5" fmla="*/ 121 h 304"/>
                  <a:gd name="T6" fmla="*/ 632 w 706"/>
                  <a:gd name="T7" fmla="*/ 40 h 304"/>
                  <a:gd name="T8" fmla="*/ 620 w 706"/>
                  <a:gd name="T9" fmla="*/ 137 h 304"/>
                  <a:gd name="T10" fmla="*/ 673 w 706"/>
                  <a:gd name="T11" fmla="*/ 0 h 304"/>
                  <a:gd name="T12" fmla="*/ 704 w 706"/>
                  <a:gd name="T13" fmla="*/ 10 h 304"/>
                  <a:gd name="T14" fmla="*/ 66 w 706"/>
                  <a:gd name="T15" fmla="*/ 164 h 304"/>
                  <a:gd name="T16" fmla="*/ 75 w 706"/>
                  <a:gd name="T17" fmla="*/ 227 h 304"/>
                  <a:gd name="T18" fmla="*/ 111 w 706"/>
                  <a:gd name="T19" fmla="*/ 174 h 304"/>
                  <a:gd name="T20" fmla="*/ 132 w 706"/>
                  <a:gd name="T21" fmla="*/ 290 h 304"/>
                  <a:gd name="T22" fmla="*/ 121 w 706"/>
                  <a:gd name="T23" fmla="*/ 210 h 304"/>
                  <a:gd name="T24" fmla="*/ 62 w 706"/>
                  <a:gd name="T25" fmla="*/ 301 h 304"/>
                  <a:gd name="T26" fmla="*/ 33 w 706"/>
                  <a:gd name="T27" fmla="*/ 290 h 304"/>
                  <a:gd name="T28" fmla="*/ 28 w 706"/>
                  <a:gd name="T29" fmla="*/ 175 h 304"/>
                  <a:gd name="T30" fmla="*/ 187 w 706"/>
                  <a:gd name="T31" fmla="*/ 284 h 304"/>
                  <a:gd name="T32" fmla="*/ 228 w 706"/>
                  <a:gd name="T33" fmla="*/ 289 h 304"/>
                  <a:gd name="T34" fmla="*/ 196 w 706"/>
                  <a:gd name="T35" fmla="*/ 296 h 304"/>
                  <a:gd name="T36" fmla="*/ 159 w 706"/>
                  <a:gd name="T37" fmla="*/ 253 h 304"/>
                  <a:gd name="T38" fmla="*/ 192 w 706"/>
                  <a:gd name="T39" fmla="*/ 229 h 304"/>
                  <a:gd name="T40" fmla="*/ 207 w 706"/>
                  <a:gd name="T41" fmla="*/ 195 h 304"/>
                  <a:gd name="T42" fmla="*/ 228 w 706"/>
                  <a:gd name="T43" fmla="*/ 289 h 304"/>
                  <a:gd name="T44" fmla="*/ 311 w 706"/>
                  <a:gd name="T45" fmla="*/ 224 h 304"/>
                  <a:gd name="T46" fmla="*/ 262 w 706"/>
                  <a:gd name="T47" fmla="*/ 301 h 304"/>
                  <a:gd name="T48" fmla="*/ 278 w 706"/>
                  <a:gd name="T49" fmla="*/ 197 h 304"/>
                  <a:gd name="T50" fmla="*/ 358 w 706"/>
                  <a:gd name="T51" fmla="*/ 164 h 304"/>
                  <a:gd name="T52" fmla="*/ 378 w 706"/>
                  <a:gd name="T53" fmla="*/ 205 h 304"/>
                  <a:gd name="T54" fmla="*/ 387 w 706"/>
                  <a:gd name="T55" fmla="*/ 233 h 304"/>
                  <a:gd name="T56" fmla="*/ 377 w 706"/>
                  <a:gd name="T57" fmla="*/ 301 h 304"/>
                  <a:gd name="T58" fmla="*/ 340 w 706"/>
                  <a:gd name="T59" fmla="*/ 290 h 304"/>
                  <a:gd name="T60" fmla="*/ 336 w 706"/>
                  <a:gd name="T61" fmla="*/ 175 h 304"/>
                  <a:gd name="T62" fmla="*/ 471 w 706"/>
                  <a:gd name="T63" fmla="*/ 223 h 304"/>
                  <a:gd name="T64" fmla="*/ 460 w 706"/>
                  <a:gd name="T65" fmla="*/ 237 h 304"/>
                  <a:gd name="T66" fmla="*/ 448 w 706"/>
                  <a:gd name="T67" fmla="*/ 304 h 304"/>
                  <a:gd name="T68" fmla="*/ 464 w 706"/>
                  <a:gd name="T69" fmla="*/ 194 h 304"/>
                  <a:gd name="T70" fmla="*/ 456 w 706"/>
                  <a:gd name="T71" fmla="*/ 256 h 304"/>
                  <a:gd name="T72" fmla="*/ 450 w 706"/>
                  <a:gd name="T73" fmla="*/ 282 h 304"/>
                  <a:gd name="T74" fmla="*/ 533 w 706"/>
                  <a:gd name="T75" fmla="*/ 174 h 304"/>
                  <a:gd name="T76" fmla="*/ 560 w 706"/>
                  <a:gd name="T77" fmla="*/ 186 h 304"/>
                  <a:gd name="T78" fmla="*/ 551 w 706"/>
                  <a:gd name="T79" fmla="*/ 226 h 304"/>
                  <a:gd name="T80" fmla="*/ 553 w 706"/>
                  <a:gd name="T81" fmla="*/ 281 h 304"/>
                  <a:gd name="T82" fmla="*/ 509 w 706"/>
                  <a:gd name="T83" fmla="*/ 275 h 304"/>
                  <a:gd name="T84" fmla="*/ 521 w 706"/>
                  <a:gd name="T85" fmla="*/ 197 h 304"/>
                  <a:gd name="T86" fmla="*/ 626 w 706"/>
                  <a:gd name="T87" fmla="*/ 223 h 304"/>
                  <a:gd name="T88" fmla="*/ 597 w 706"/>
                  <a:gd name="T89" fmla="*/ 272 h 304"/>
                  <a:gd name="T90" fmla="*/ 619 w 706"/>
                  <a:gd name="T91" fmla="*/ 257 h 304"/>
                  <a:gd name="T92" fmla="*/ 605 w 706"/>
                  <a:gd name="T93" fmla="*/ 303 h 304"/>
                  <a:gd name="T94" fmla="*/ 657 w 706"/>
                  <a:gd name="T95" fmla="*/ 223 h 304"/>
                  <a:gd name="T96" fmla="*/ 678 w 706"/>
                  <a:gd name="T97" fmla="*/ 202 h 304"/>
                  <a:gd name="T98" fmla="*/ 673 w 706"/>
                  <a:gd name="T99" fmla="*/ 215 h 304"/>
                  <a:gd name="T100" fmla="*/ 684 w 706"/>
                  <a:gd name="T101" fmla="*/ 204 h 304"/>
                  <a:gd name="T102" fmla="*/ 685 w 706"/>
                  <a:gd name="T103" fmla="*/ 215 h 304"/>
                  <a:gd name="T104" fmla="*/ 676 w 706"/>
                  <a:gd name="T105" fmla="*/ 209 h 304"/>
                  <a:gd name="T106" fmla="*/ 679 w 706"/>
                  <a:gd name="T107" fmla="*/ 218 h 304"/>
                  <a:gd name="T108" fmla="*/ 679 w 706"/>
                  <a:gd name="T109" fmla="*/ 194 h 304"/>
                  <a:gd name="T110" fmla="*/ 679 w 706"/>
                  <a:gd name="T111" fmla="*/ 19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6" h="304">
                    <a:moveTo>
                      <a:pt x="574" y="63"/>
                    </a:moveTo>
                    <a:cubicBezTo>
                      <a:pt x="550" y="63"/>
                      <a:pt x="550" y="63"/>
                      <a:pt x="550" y="63"/>
                    </a:cubicBezTo>
                    <a:cubicBezTo>
                      <a:pt x="545" y="63"/>
                      <a:pt x="539" y="68"/>
                      <a:pt x="537" y="73"/>
                    </a:cubicBezTo>
                    <a:cubicBezTo>
                      <a:pt x="526" y="122"/>
                      <a:pt x="526" y="122"/>
                      <a:pt x="526" y="122"/>
                    </a:cubicBezTo>
                    <a:cubicBezTo>
                      <a:pt x="542" y="123"/>
                      <a:pt x="556" y="124"/>
                      <a:pt x="569" y="126"/>
                    </a:cubicBezTo>
                    <a:cubicBezTo>
                      <a:pt x="582" y="73"/>
                      <a:pt x="582" y="73"/>
                      <a:pt x="582" y="73"/>
                    </a:cubicBezTo>
                    <a:cubicBezTo>
                      <a:pt x="583" y="68"/>
                      <a:pt x="579" y="63"/>
                      <a:pt x="574" y="63"/>
                    </a:cubicBezTo>
                    <a:moveTo>
                      <a:pt x="512" y="90"/>
                    </a:moveTo>
                    <a:cubicBezTo>
                      <a:pt x="489" y="90"/>
                      <a:pt x="489" y="90"/>
                      <a:pt x="489" y="90"/>
                    </a:cubicBezTo>
                    <a:cubicBezTo>
                      <a:pt x="483" y="90"/>
                      <a:pt x="477" y="95"/>
                      <a:pt x="476" y="100"/>
                    </a:cubicBezTo>
                    <a:cubicBezTo>
                      <a:pt x="471" y="122"/>
                      <a:pt x="471" y="122"/>
                      <a:pt x="471" y="122"/>
                    </a:cubicBezTo>
                    <a:cubicBezTo>
                      <a:pt x="475" y="121"/>
                      <a:pt x="478" y="121"/>
                      <a:pt x="482" y="121"/>
                    </a:cubicBezTo>
                    <a:cubicBezTo>
                      <a:pt x="494" y="121"/>
                      <a:pt x="505" y="121"/>
                      <a:pt x="515" y="122"/>
                    </a:cubicBezTo>
                    <a:cubicBezTo>
                      <a:pt x="520" y="100"/>
                      <a:pt x="520" y="100"/>
                      <a:pt x="520" y="100"/>
                    </a:cubicBezTo>
                    <a:cubicBezTo>
                      <a:pt x="522" y="95"/>
                      <a:pt x="518" y="90"/>
                      <a:pt x="512" y="90"/>
                    </a:cubicBezTo>
                    <a:moveTo>
                      <a:pt x="632" y="40"/>
                    </a:moveTo>
                    <a:cubicBezTo>
                      <a:pt x="609" y="40"/>
                      <a:pt x="609" y="40"/>
                      <a:pt x="609" y="40"/>
                    </a:cubicBezTo>
                    <a:cubicBezTo>
                      <a:pt x="603" y="40"/>
                      <a:pt x="597" y="45"/>
                      <a:pt x="596" y="50"/>
                    </a:cubicBezTo>
                    <a:cubicBezTo>
                      <a:pt x="578" y="128"/>
                      <a:pt x="578" y="128"/>
                      <a:pt x="578" y="128"/>
                    </a:cubicBezTo>
                    <a:cubicBezTo>
                      <a:pt x="594" y="130"/>
                      <a:pt x="608" y="133"/>
                      <a:pt x="620" y="137"/>
                    </a:cubicBezTo>
                    <a:cubicBezTo>
                      <a:pt x="640" y="50"/>
                      <a:pt x="640" y="50"/>
                      <a:pt x="640" y="50"/>
                    </a:cubicBezTo>
                    <a:cubicBezTo>
                      <a:pt x="642" y="45"/>
                      <a:pt x="638" y="40"/>
                      <a:pt x="632" y="40"/>
                    </a:cubicBezTo>
                    <a:moveTo>
                      <a:pt x="696" y="0"/>
                    </a:moveTo>
                    <a:cubicBezTo>
                      <a:pt x="673" y="0"/>
                      <a:pt x="673" y="0"/>
                      <a:pt x="673" y="0"/>
                    </a:cubicBezTo>
                    <a:cubicBezTo>
                      <a:pt x="667" y="0"/>
                      <a:pt x="661" y="4"/>
                      <a:pt x="660" y="10"/>
                    </a:cubicBezTo>
                    <a:cubicBezTo>
                      <a:pt x="630" y="139"/>
                      <a:pt x="630" y="139"/>
                      <a:pt x="630" y="139"/>
                    </a:cubicBezTo>
                    <a:cubicBezTo>
                      <a:pt x="646" y="144"/>
                      <a:pt x="659" y="150"/>
                      <a:pt x="670" y="155"/>
                    </a:cubicBezTo>
                    <a:cubicBezTo>
                      <a:pt x="704" y="10"/>
                      <a:pt x="704" y="10"/>
                      <a:pt x="704" y="10"/>
                    </a:cubicBezTo>
                    <a:cubicBezTo>
                      <a:pt x="706" y="4"/>
                      <a:pt x="702" y="0"/>
                      <a:pt x="696" y="0"/>
                    </a:cubicBezTo>
                    <a:moveTo>
                      <a:pt x="28" y="175"/>
                    </a:moveTo>
                    <a:cubicBezTo>
                      <a:pt x="30" y="169"/>
                      <a:pt x="36" y="164"/>
                      <a:pt x="42" y="164"/>
                    </a:cubicBezTo>
                    <a:cubicBezTo>
                      <a:pt x="66" y="164"/>
                      <a:pt x="66" y="164"/>
                      <a:pt x="66" y="164"/>
                    </a:cubicBezTo>
                    <a:cubicBezTo>
                      <a:pt x="72" y="164"/>
                      <a:pt x="77" y="169"/>
                      <a:pt x="77" y="175"/>
                    </a:cubicBezTo>
                    <a:cubicBezTo>
                      <a:pt x="76" y="191"/>
                      <a:pt x="76" y="191"/>
                      <a:pt x="76" y="191"/>
                    </a:cubicBezTo>
                    <a:cubicBezTo>
                      <a:pt x="76" y="197"/>
                      <a:pt x="75" y="207"/>
                      <a:pt x="75" y="214"/>
                    </a:cubicBezTo>
                    <a:cubicBezTo>
                      <a:pt x="75" y="214"/>
                      <a:pt x="75" y="223"/>
                      <a:pt x="75" y="227"/>
                    </a:cubicBezTo>
                    <a:cubicBezTo>
                      <a:pt x="74" y="238"/>
                      <a:pt x="74" y="248"/>
                      <a:pt x="73" y="261"/>
                    </a:cubicBezTo>
                    <a:cubicBezTo>
                      <a:pt x="76" y="254"/>
                      <a:pt x="79" y="246"/>
                      <a:pt x="83" y="238"/>
                    </a:cubicBezTo>
                    <a:cubicBezTo>
                      <a:pt x="86" y="231"/>
                      <a:pt x="90" y="221"/>
                      <a:pt x="92" y="216"/>
                    </a:cubicBezTo>
                    <a:cubicBezTo>
                      <a:pt x="111" y="174"/>
                      <a:pt x="111" y="174"/>
                      <a:pt x="111" y="174"/>
                    </a:cubicBezTo>
                    <a:cubicBezTo>
                      <a:pt x="113" y="168"/>
                      <a:pt x="120" y="164"/>
                      <a:pt x="126" y="164"/>
                    </a:cubicBezTo>
                    <a:cubicBezTo>
                      <a:pt x="150" y="164"/>
                      <a:pt x="150" y="164"/>
                      <a:pt x="150" y="164"/>
                    </a:cubicBezTo>
                    <a:cubicBezTo>
                      <a:pt x="156" y="164"/>
                      <a:pt x="160" y="169"/>
                      <a:pt x="158" y="175"/>
                    </a:cubicBezTo>
                    <a:cubicBezTo>
                      <a:pt x="132" y="290"/>
                      <a:pt x="132" y="290"/>
                      <a:pt x="132" y="290"/>
                    </a:cubicBezTo>
                    <a:cubicBezTo>
                      <a:pt x="130" y="296"/>
                      <a:pt x="124" y="301"/>
                      <a:pt x="118" y="301"/>
                    </a:cubicBezTo>
                    <a:cubicBezTo>
                      <a:pt x="109" y="301"/>
                      <a:pt x="109" y="301"/>
                      <a:pt x="109" y="301"/>
                    </a:cubicBezTo>
                    <a:cubicBezTo>
                      <a:pt x="103" y="301"/>
                      <a:pt x="99" y="296"/>
                      <a:pt x="101" y="290"/>
                    </a:cubicBezTo>
                    <a:cubicBezTo>
                      <a:pt x="121" y="210"/>
                      <a:pt x="121" y="210"/>
                      <a:pt x="121" y="210"/>
                    </a:cubicBezTo>
                    <a:cubicBezTo>
                      <a:pt x="123" y="204"/>
                      <a:pt x="122" y="204"/>
                      <a:pt x="119" y="209"/>
                    </a:cubicBezTo>
                    <a:cubicBezTo>
                      <a:pt x="83" y="291"/>
                      <a:pt x="83" y="291"/>
                      <a:pt x="83" y="291"/>
                    </a:cubicBezTo>
                    <a:cubicBezTo>
                      <a:pt x="80" y="296"/>
                      <a:pt x="73" y="301"/>
                      <a:pt x="67" y="301"/>
                    </a:cubicBezTo>
                    <a:cubicBezTo>
                      <a:pt x="62" y="301"/>
                      <a:pt x="62" y="301"/>
                      <a:pt x="62" y="301"/>
                    </a:cubicBezTo>
                    <a:cubicBezTo>
                      <a:pt x="56" y="301"/>
                      <a:pt x="51" y="296"/>
                      <a:pt x="51" y="290"/>
                    </a:cubicBezTo>
                    <a:cubicBezTo>
                      <a:pt x="51" y="210"/>
                      <a:pt x="51" y="210"/>
                      <a:pt x="51" y="210"/>
                    </a:cubicBezTo>
                    <a:cubicBezTo>
                      <a:pt x="51" y="204"/>
                      <a:pt x="50" y="204"/>
                      <a:pt x="49" y="210"/>
                    </a:cubicBezTo>
                    <a:cubicBezTo>
                      <a:pt x="33" y="290"/>
                      <a:pt x="33" y="290"/>
                      <a:pt x="33" y="290"/>
                    </a:cubicBezTo>
                    <a:cubicBezTo>
                      <a:pt x="31" y="296"/>
                      <a:pt x="25" y="301"/>
                      <a:pt x="19" y="301"/>
                    </a:cubicBezTo>
                    <a:cubicBezTo>
                      <a:pt x="11" y="301"/>
                      <a:pt x="11" y="301"/>
                      <a:pt x="11" y="301"/>
                    </a:cubicBezTo>
                    <a:cubicBezTo>
                      <a:pt x="4" y="301"/>
                      <a:pt x="0" y="296"/>
                      <a:pt x="2" y="290"/>
                    </a:cubicBezTo>
                    <a:lnTo>
                      <a:pt x="28" y="175"/>
                    </a:lnTo>
                    <a:close/>
                    <a:moveTo>
                      <a:pt x="207" y="252"/>
                    </a:moveTo>
                    <a:cubicBezTo>
                      <a:pt x="200" y="254"/>
                      <a:pt x="191" y="257"/>
                      <a:pt x="187" y="260"/>
                    </a:cubicBezTo>
                    <a:cubicBezTo>
                      <a:pt x="182" y="264"/>
                      <a:pt x="181" y="275"/>
                      <a:pt x="181" y="277"/>
                    </a:cubicBezTo>
                    <a:cubicBezTo>
                      <a:pt x="181" y="281"/>
                      <a:pt x="182" y="284"/>
                      <a:pt x="187" y="284"/>
                    </a:cubicBezTo>
                    <a:cubicBezTo>
                      <a:pt x="193" y="284"/>
                      <a:pt x="193" y="284"/>
                      <a:pt x="193" y="284"/>
                    </a:cubicBezTo>
                    <a:cubicBezTo>
                      <a:pt x="197" y="280"/>
                      <a:pt x="202" y="272"/>
                      <a:pt x="203" y="266"/>
                    </a:cubicBezTo>
                    <a:lnTo>
                      <a:pt x="207" y="252"/>
                    </a:lnTo>
                    <a:close/>
                    <a:moveTo>
                      <a:pt x="228" y="289"/>
                    </a:moveTo>
                    <a:cubicBezTo>
                      <a:pt x="227" y="291"/>
                      <a:pt x="227" y="292"/>
                      <a:pt x="227" y="294"/>
                    </a:cubicBezTo>
                    <a:cubicBezTo>
                      <a:pt x="227" y="299"/>
                      <a:pt x="228" y="300"/>
                      <a:pt x="230" y="301"/>
                    </a:cubicBezTo>
                    <a:cubicBezTo>
                      <a:pt x="206" y="301"/>
                      <a:pt x="206" y="301"/>
                      <a:pt x="206" y="301"/>
                    </a:cubicBezTo>
                    <a:cubicBezTo>
                      <a:pt x="200" y="301"/>
                      <a:pt x="195" y="299"/>
                      <a:pt x="196" y="296"/>
                    </a:cubicBezTo>
                    <a:cubicBezTo>
                      <a:pt x="197" y="293"/>
                      <a:pt x="193" y="293"/>
                      <a:pt x="189" y="298"/>
                    </a:cubicBezTo>
                    <a:cubicBezTo>
                      <a:pt x="189" y="298"/>
                      <a:pt x="181" y="304"/>
                      <a:pt x="169" y="304"/>
                    </a:cubicBezTo>
                    <a:cubicBezTo>
                      <a:pt x="167" y="304"/>
                      <a:pt x="149" y="304"/>
                      <a:pt x="149" y="285"/>
                    </a:cubicBezTo>
                    <a:cubicBezTo>
                      <a:pt x="149" y="278"/>
                      <a:pt x="153" y="260"/>
                      <a:pt x="159" y="253"/>
                    </a:cubicBezTo>
                    <a:cubicBezTo>
                      <a:pt x="165" y="245"/>
                      <a:pt x="175" y="243"/>
                      <a:pt x="211" y="232"/>
                    </a:cubicBezTo>
                    <a:cubicBezTo>
                      <a:pt x="212" y="228"/>
                      <a:pt x="214" y="221"/>
                      <a:pt x="214" y="220"/>
                    </a:cubicBezTo>
                    <a:cubicBezTo>
                      <a:pt x="214" y="214"/>
                      <a:pt x="208" y="214"/>
                      <a:pt x="205" y="214"/>
                    </a:cubicBezTo>
                    <a:cubicBezTo>
                      <a:pt x="196" y="214"/>
                      <a:pt x="195" y="219"/>
                      <a:pt x="192" y="229"/>
                    </a:cubicBezTo>
                    <a:cubicBezTo>
                      <a:pt x="174" y="229"/>
                      <a:pt x="174" y="229"/>
                      <a:pt x="174" y="229"/>
                    </a:cubicBezTo>
                    <a:cubicBezTo>
                      <a:pt x="167" y="229"/>
                      <a:pt x="164" y="224"/>
                      <a:pt x="165" y="218"/>
                    </a:cubicBezTo>
                    <a:cubicBezTo>
                      <a:pt x="165" y="218"/>
                      <a:pt x="169" y="205"/>
                      <a:pt x="179" y="200"/>
                    </a:cubicBezTo>
                    <a:cubicBezTo>
                      <a:pt x="186" y="197"/>
                      <a:pt x="196" y="195"/>
                      <a:pt x="207" y="195"/>
                    </a:cubicBezTo>
                    <a:cubicBezTo>
                      <a:pt x="225" y="195"/>
                      <a:pt x="243" y="199"/>
                      <a:pt x="243" y="218"/>
                    </a:cubicBezTo>
                    <a:cubicBezTo>
                      <a:pt x="243" y="221"/>
                      <a:pt x="243" y="221"/>
                      <a:pt x="243" y="221"/>
                    </a:cubicBezTo>
                    <a:cubicBezTo>
                      <a:pt x="242" y="226"/>
                      <a:pt x="240" y="234"/>
                      <a:pt x="239" y="240"/>
                    </a:cubicBezTo>
                    <a:lnTo>
                      <a:pt x="228" y="289"/>
                    </a:lnTo>
                    <a:close/>
                    <a:moveTo>
                      <a:pt x="292" y="218"/>
                    </a:moveTo>
                    <a:cubicBezTo>
                      <a:pt x="301" y="201"/>
                      <a:pt x="307" y="198"/>
                      <a:pt x="323" y="195"/>
                    </a:cubicBezTo>
                    <a:cubicBezTo>
                      <a:pt x="319" y="213"/>
                      <a:pt x="319" y="213"/>
                      <a:pt x="319" y="213"/>
                    </a:cubicBezTo>
                    <a:cubicBezTo>
                      <a:pt x="317" y="219"/>
                      <a:pt x="314" y="224"/>
                      <a:pt x="311" y="224"/>
                    </a:cubicBezTo>
                    <a:cubicBezTo>
                      <a:pt x="309" y="224"/>
                      <a:pt x="309" y="224"/>
                      <a:pt x="309" y="224"/>
                    </a:cubicBezTo>
                    <a:cubicBezTo>
                      <a:pt x="292" y="224"/>
                      <a:pt x="289" y="231"/>
                      <a:pt x="285" y="250"/>
                    </a:cubicBezTo>
                    <a:cubicBezTo>
                      <a:pt x="275" y="290"/>
                      <a:pt x="275" y="290"/>
                      <a:pt x="275" y="290"/>
                    </a:cubicBezTo>
                    <a:cubicBezTo>
                      <a:pt x="274" y="296"/>
                      <a:pt x="268" y="301"/>
                      <a:pt x="262" y="301"/>
                    </a:cubicBezTo>
                    <a:cubicBezTo>
                      <a:pt x="253" y="301"/>
                      <a:pt x="253" y="301"/>
                      <a:pt x="253" y="301"/>
                    </a:cubicBezTo>
                    <a:cubicBezTo>
                      <a:pt x="247" y="301"/>
                      <a:pt x="243" y="296"/>
                      <a:pt x="245" y="290"/>
                    </a:cubicBezTo>
                    <a:cubicBezTo>
                      <a:pt x="264" y="208"/>
                      <a:pt x="264" y="208"/>
                      <a:pt x="264" y="208"/>
                    </a:cubicBezTo>
                    <a:cubicBezTo>
                      <a:pt x="265" y="202"/>
                      <a:pt x="271" y="197"/>
                      <a:pt x="278" y="197"/>
                    </a:cubicBezTo>
                    <a:cubicBezTo>
                      <a:pt x="286" y="197"/>
                      <a:pt x="286" y="197"/>
                      <a:pt x="286" y="197"/>
                    </a:cubicBezTo>
                    <a:cubicBezTo>
                      <a:pt x="292" y="197"/>
                      <a:pt x="296" y="202"/>
                      <a:pt x="294" y="208"/>
                    </a:cubicBezTo>
                    <a:lnTo>
                      <a:pt x="292" y="218"/>
                    </a:lnTo>
                    <a:close/>
                    <a:moveTo>
                      <a:pt x="358" y="164"/>
                    </a:moveTo>
                    <a:cubicBezTo>
                      <a:pt x="365" y="164"/>
                      <a:pt x="368" y="169"/>
                      <a:pt x="367" y="175"/>
                    </a:cubicBezTo>
                    <a:cubicBezTo>
                      <a:pt x="355" y="225"/>
                      <a:pt x="355" y="225"/>
                      <a:pt x="355" y="225"/>
                    </a:cubicBezTo>
                    <a:cubicBezTo>
                      <a:pt x="354" y="231"/>
                      <a:pt x="356" y="232"/>
                      <a:pt x="360" y="227"/>
                    </a:cubicBezTo>
                    <a:cubicBezTo>
                      <a:pt x="378" y="205"/>
                      <a:pt x="378" y="205"/>
                      <a:pt x="378" y="205"/>
                    </a:cubicBezTo>
                    <a:cubicBezTo>
                      <a:pt x="382" y="201"/>
                      <a:pt x="390" y="197"/>
                      <a:pt x="396" y="197"/>
                    </a:cubicBezTo>
                    <a:cubicBezTo>
                      <a:pt x="409" y="197"/>
                      <a:pt x="409" y="197"/>
                      <a:pt x="409" y="197"/>
                    </a:cubicBezTo>
                    <a:cubicBezTo>
                      <a:pt x="415" y="197"/>
                      <a:pt x="417" y="201"/>
                      <a:pt x="412" y="205"/>
                    </a:cubicBezTo>
                    <a:cubicBezTo>
                      <a:pt x="387" y="233"/>
                      <a:pt x="387" y="233"/>
                      <a:pt x="387" y="233"/>
                    </a:cubicBezTo>
                    <a:cubicBezTo>
                      <a:pt x="383" y="238"/>
                      <a:pt x="381" y="247"/>
                      <a:pt x="383" y="253"/>
                    </a:cubicBezTo>
                    <a:cubicBezTo>
                      <a:pt x="394" y="290"/>
                      <a:pt x="394" y="290"/>
                      <a:pt x="394" y="290"/>
                    </a:cubicBezTo>
                    <a:cubicBezTo>
                      <a:pt x="396" y="296"/>
                      <a:pt x="392" y="301"/>
                      <a:pt x="386" y="301"/>
                    </a:cubicBezTo>
                    <a:cubicBezTo>
                      <a:pt x="377" y="301"/>
                      <a:pt x="377" y="301"/>
                      <a:pt x="377" y="301"/>
                    </a:cubicBezTo>
                    <a:cubicBezTo>
                      <a:pt x="371" y="301"/>
                      <a:pt x="364" y="296"/>
                      <a:pt x="363" y="290"/>
                    </a:cubicBezTo>
                    <a:cubicBezTo>
                      <a:pt x="354" y="256"/>
                      <a:pt x="354" y="256"/>
                      <a:pt x="354" y="256"/>
                    </a:cubicBezTo>
                    <a:cubicBezTo>
                      <a:pt x="352" y="250"/>
                      <a:pt x="350" y="250"/>
                      <a:pt x="348" y="256"/>
                    </a:cubicBezTo>
                    <a:cubicBezTo>
                      <a:pt x="340" y="290"/>
                      <a:pt x="340" y="290"/>
                      <a:pt x="340" y="290"/>
                    </a:cubicBezTo>
                    <a:cubicBezTo>
                      <a:pt x="339" y="296"/>
                      <a:pt x="333" y="301"/>
                      <a:pt x="327" y="301"/>
                    </a:cubicBezTo>
                    <a:cubicBezTo>
                      <a:pt x="318" y="301"/>
                      <a:pt x="318" y="301"/>
                      <a:pt x="318" y="301"/>
                    </a:cubicBezTo>
                    <a:cubicBezTo>
                      <a:pt x="312" y="301"/>
                      <a:pt x="308" y="296"/>
                      <a:pt x="309" y="290"/>
                    </a:cubicBezTo>
                    <a:cubicBezTo>
                      <a:pt x="336" y="175"/>
                      <a:pt x="336" y="175"/>
                      <a:pt x="336" y="175"/>
                    </a:cubicBezTo>
                    <a:cubicBezTo>
                      <a:pt x="338" y="169"/>
                      <a:pt x="344" y="164"/>
                      <a:pt x="350" y="164"/>
                    </a:cubicBezTo>
                    <a:lnTo>
                      <a:pt x="358" y="164"/>
                    </a:lnTo>
                    <a:close/>
                    <a:moveTo>
                      <a:pt x="469" y="237"/>
                    </a:moveTo>
                    <a:cubicBezTo>
                      <a:pt x="469" y="234"/>
                      <a:pt x="471" y="226"/>
                      <a:pt x="471" y="223"/>
                    </a:cubicBezTo>
                    <a:cubicBezTo>
                      <a:pt x="471" y="221"/>
                      <a:pt x="471" y="219"/>
                      <a:pt x="470" y="218"/>
                    </a:cubicBezTo>
                    <a:cubicBezTo>
                      <a:pt x="468" y="215"/>
                      <a:pt x="464" y="215"/>
                      <a:pt x="462" y="215"/>
                    </a:cubicBezTo>
                    <a:cubicBezTo>
                      <a:pt x="453" y="215"/>
                      <a:pt x="451" y="226"/>
                      <a:pt x="451" y="226"/>
                    </a:cubicBezTo>
                    <a:cubicBezTo>
                      <a:pt x="450" y="232"/>
                      <a:pt x="454" y="237"/>
                      <a:pt x="460" y="237"/>
                    </a:cubicBezTo>
                    <a:lnTo>
                      <a:pt x="469" y="237"/>
                    </a:lnTo>
                    <a:close/>
                    <a:moveTo>
                      <a:pt x="494" y="267"/>
                    </a:moveTo>
                    <a:cubicBezTo>
                      <a:pt x="492" y="275"/>
                      <a:pt x="490" y="284"/>
                      <a:pt x="483" y="291"/>
                    </a:cubicBezTo>
                    <a:cubicBezTo>
                      <a:pt x="477" y="299"/>
                      <a:pt x="467" y="304"/>
                      <a:pt x="448" y="304"/>
                    </a:cubicBezTo>
                    <a:cubicBezTo>
                      <a:pt x="443" y="304"/>
                      <a:pt x="429" y="303"/>
                      <a:pt x="419" y="296"/>
                    </a:cubicBezTo>
                    <a:cubicBezTo>
                      <a:pt x="415" y="292"/>
                      <a:pt x="411" y="287"/>
                      <a:pt x="411" y="276"/>
                    </a:cubicBezTo>
                    <a:cubicBezTo>
                      <a:pt x="411" y="262"/>
                      <a:pt x="421" y="224"/>
                      <a:pt x="424" y="216"/>
                    </a:cubicBezTo>
                    <a:cubicBezTo>
                      <a:pt x="428" y="207"/>
                      <a:pt x="436" y="194"/>
                      <a:pt x="464" y="194"/>
                    </a:cubicBezTo>
                    <a:cubicBezTo>
                      <a:pt x="477" y="194"/>
                      <a:pt x="501" y="197"/>
                      <a:pt x="501" y="220"/>
                    </a:cubicBezTo>
                    <a:cubicBezTo>
                      <a:pt x="501" y="224"/>
                      <a:pt x="500" y="228"/>
                      <a:pt x="499" y="233"/>
                    </a:cubicBezTo>
                    <a:cubicBezTo>
                      <a:pt x="498" y="241"/>
                      <a:pt x="496" y="248"/>
                      <a:pt x="494" y="256"/>
                    </a:cubicBezTo>
                    <a:cubicBezTo>
                      <a:pt x="456" y="256"/>
                      <a:pt x="456" y="256"/>
                      <a:pt x="456" y="256"/>
                    </a:cubicBezTo>
                    <a:cubicBezTo>
                      <a:pt x="449" y="256"/>
                      <a:pt x="443" y="261"/>
                      <a:pt x="442" y="267"/>
                    </a:cubicBezTo>
                    <a:cubicBezTo>
                      <a:pt x="442" y="267"/>
                      <a:pt x="441" y="271"/>
                      <a:pt x="441" y="275"/>
                    </a:cubicBezTo>
                    <a:cubicBezTo>
                      <a:pt x="441" y="276"/>
                      <a:pt x="441" y="278"/>
                      <a:pt x="441" y="278"/>
                    </a:cubicBezTo>
                    <a:cubicBezTo>
                      <a:pt x="443" y="281"/>
                      <a:pt x="446" y="282"/>
                      <a:pt x="450" y="282"/>
                    </a:cubicBezTo>
                    <a:cubicBezTo>
                      <a:pt x="459" y="282"/>
                      <a:pt x="460" y="278"/>
                      <a:pt x="460" y="278"/>
                    </a:cubicBezTo>
                    <a:cubicBezTo>
                      <a:pt x="461" y="272"/>
                      <a:pt x="467" y="267"/>
                      <a:pt x="473" y="267"/>
                    </a:cubicBezTo>
                    <a:lnTo>
                      <a:pt x="494" y="267"/>
                    </a:lnTo>
                    <a:close/>
                    <a:moveTo>
                      <a:pt x="533" y="174"/>
                    </a:moveTo>
                    <a:cubicBezTo>
                      <a:pt x="534" y="168"/>
                      <a:pt x="540" y="163"/>
                      <a:pt x="546" y="163"/>
                    </a:cubicBezTo>
                    <a:cubicBezTo>
                      <a:pt x="554" y="163"/>
                      <a:pt x="554" y="163"/>
                      <a:pt x="554" y="163"/>
                    </a:cubicBezTo>
                    <a:cubicBezTo>
                      <a:pt x="561" y="163"/>
                      <a:pt x="564" y="168"/>
                      <a:pt x="563" y="174"/>
                    </a:cubicBezTo>
                    <a:cubicBezTo>
                      <a:pt x="560" y="186"/>
                      <a:pt x="560" y="186"/>
                      <a:pt x="560" y="186"/>
                    </a:cubicBezTo>
                    <a:cubicBezTo>
                      <a:pt x="559" y="192"/>
                      <a:pt x="561" y="197"/>
                      <a:pt x="565" y="197"/>
                    </a:cubicBezTo>
                    <a:cubicBezTo>
                      <a:pt x="569" y="197"/>
                      <a:pt x="571" y="201"/>
                      <a:pt x="569" y="206"/>
                    </a:cubicBezTo>
                    <a:cubicBezTo>
                      <a:pt x="568" y="211"/>
                      <a:pt x="564" y="215"/>
                      <a:pt x="560" y="215"/>
                    </a:cubicBezTo>
                    <a:cubicBezTo>
                      <a:pt x="557" y="215"/>
                      <a:pt x="552" y="220"/>
                      <a:pt x="551" y="226"/>
                    </a:cubicBezTo>
                    <a:cubicBezTo>
                      <a:pt x="543" y="259"/>
                      <a:pt x="543" y="259"/>
                      <a:pt x="543" y="259"/>
                    </a:cubicBezTo>
                    <a:cubicBezTo>
                      <a:pt x="542" y="265"/>
                      <a:pt x="541" y="272"/>
                      <a:pt x="540" y="274"/>
                    </a:cubicBezTo>
                    <a:cubicBezTo>
                      <a:pt x="540" y="276"/>
                      <a:pt x="540" y="276"/>
                      <a:pt x="540" y="276"/>
                    </a:cubicBezTo>
                    <a:cubicBezTo>
                      <a:pt x="540" y="281"/>
                      <a:pt x="544" y="281"/>
                      <a:pt x="553" y="281"/>
                    </a:cubicBezTo>
                    <a:cubicBezTo>
                      <a:pt x="551" y="290"/>
                      <a:pt x="551" y="290"/>
                      <a:pt x="551" y="290"/>
                    </a:cubicBezTo>
                    <a:cubicBezTo>
                      <a:pt x="549" y="296"/>
                      <a:pt x="543" y="301"/>
                      <a:pt x="537" y="301"/>
                    </a:cubicBezTo>
                    <a:cubicBezTo>
                      <a:pt x="537" y="301"/>
                      <a:pt x="507" y="301"/>
                      <a:pt x="507" y="285"/>
                    </a:cubicBezTo>
                    <a:cubicBezTo>
                      <a:pt x="507" y="282"/>
                      <a:pt x="507" y="280"/>
                      <a:pt x="509" y="275"/>
                    </a:cubicBezTo>
                    <a:cubicBezTo>
                      <a:pt x="520" y="226"/>
                      <a:pt x="520" y="226"/>
                      <a:pt x="520" y="226"/>
                    </a:cubicBezTo>
                    <a:cubicBezTo>
                      <a:pt x="522" y="220"/>
                      <a:pt x="520" y="215"/>
                      <a:pt x="517" y="215"/>
                    </a:cubicBezTo>
                    <a:cubicBezTo>
                      <a:pt x="513" y="215"/>
                      <a:pt x="511" y="211"/>
                      <a:pt x="513" y="206"/>
                    </a:cubicBezTo>
                    <a:cubicBezTo>
                      <a:pt x="514" y="201"/>
                      <a:pt x="518" y="197"/>
                      <a:pt x="521" y="197"/>
                    </a:cubicBezTo>
                    <a:cubicBezTo>
                      <a:pt x="525" y="197"/>
                      <a:pt x="529" y="192"/>
                      <a:pt x="530" y="186"/>
                    </a:cubicBezTo>
                    <a:lnTo>
                      <a:pt x="533" y="174"/>
                    </a:lnTo>
                    <a:close/>
                    <a:moveTo>
                      <a:pt x="626" y="227"/>
                    </a:moveTo>
                    <a:cubicBezTo>
                      <a:pt x="626" y="225"/>
                      <a:pt x="626" y="224"/>
                      <a:pt x="626" y="223"/>
                    </a:cubicBezTo>
                    <a:cubicBezTo>
                      <a:pt x="627" y="218"/>
                      <a:pt x="623" y="215"/>
                      <a:pt x="618" y="215"/>
                    </a:cubicBezTo>
                    <a:cubicBezTo>
                      <a:pt x="610" y="215"/>
                      <a:pt x="608" y="222"/>
                      <a:pt x="607" y="227"/>
                    </a:cubicBezTo>
                    <a:cubicBezTo>
                      <a:pt x="600" y="257"/>
                      <a:pt x="600" y="257"/>
                      <a:pt x="600" y="257"/>
                    </a:cubicBezTo>
                    <a:cubicBezTo>
                      <a:pt x="598" y="263"/>
                      <a:pt x="597" y="270"/>
                      <a:pt x="597" y="272"/>
                    </a:cubicBezTo>
                    <a:cubicBezTo>
                      <a:pt x="597" y="274"/>
                      <a:pt x="597" y="274"/>
                      <a:pt x="597" y="274"/>
                    </a:cubicBezTo>
                    <a:cubicBezTo>
                      <a:pt x="597" y="278"/>
                      <a:pt x="599" y="282"/>
                      <a:pt x="605" y="282"/>
                    </a:cubicBezTo>
                    <a:cubicBezTo>
                      <a:pt x="613" y="282"/>
                      <a:pt x="614" y="279"/>
                      <a:pt x="614" y="279"/>
                    </a:cubicBezTo>
                    <a:cubicBezTo>
                      <a:pt x="615" y="273"/>
                      <a:pt x="618" y="263"/>
                      <a:pt x="619" y="257"/>
                    </a:cubicBezTo>
                    <a:lnTo>
                      <a:pt x="626" y="227"/>
                    </a:lnTo>
                    <a:close/>
                    <a:moveTo>
                      <a:pt x="657" y="223"/>
                    </a:moveTo>
                    <a:cubicBezTo>
                      <a:pt x="657" y="234"/>
                      <a:pt x="648" y="268"/>
                      <a:pt x="645" y="277"/>
                    </a:cubicBezTo>
                    <a:cubicBezTo>
                      <a:pt x="642" y="288"/>
                      <a:pt x="636" y="303"/>
                      <a:pt x="605" y="303"/>
                    </a:cubicBezTo>
                    <a:cubicBezTo>
                      <a:pt x="581" y="303"/>
                      <a:pt x="566" y="296"/>
                      <a:pt x="566" y="275"/>
                    </a:cubicBezTo>
                    <a:cubicBezTo>
                      <a:pt x="566" y="264"/>
                      <a:pt x="575" y="229"/>
                      <a:pt x="577" y="224"/>
                    </a:cubicBezTo>
                    <a:cubicBezTo>
                      <a:pt x="580" y="213"/>
                      <a:pt x="587" y="194"/>
                      <a:pt x="617" y="194"/>
                    </a:cubicBezTo>
                    <a:cubicBezTo>
                      <a:pt x="632" y="194"/>
                      <a:pt x="657" y="197"/>
                      <a:pt x="657" y="223"/>
                    </a:cubicBezTo>
                    <a:moveTo>
                      <a:pt x="676" y="207"/>
                    </a:moveTo>
                    <a:cubicBezTo>
                      <a:pt x="678" y="207"/>
                      <a:pt x="678" y="207"/>
                      <a:pt x="678" y="207"/>
                    </a:cubicBezTo>
                    <a:cubicBezTo>
                      <a:pt x="680" y="207"/>
                      <a:pt x="681" y="206"/>
                      <a:pt x="681" y="205"/>
                    </a:cubicBezTo>
                    <a:cubicBezTo>
                      <a:pt x="681" y="203"/>
                      <a:pt x="680" y="202"/>
                      <a:pt x="678" y="202"/>
                    </a:cubicBezTo>
                    <a:cubicBezTo>
                      <a:pt x="677" y="202"/>
                      <a:pt x="677" y="202"/>
                      <a:pt x="676" y="202"/>
                    </a:cubicBezTo>
                    <a:lnTo>
                      <a:pt x="676" y="207"/>
                    </a:lnTo>
                    <a:close/>
                    <a:moveTo>
                      <a:pt x="676" y="215"/>
                    </a:moveTo>
                    <a:cubicBezTo>
                      <a:pt x="673" y="215"/>
                      <a:pt x="673" y="215"/>
                      <a:pt x="673" y="215"/>
                    </a:cubicBezTo>
                    <a:cubicBezTo>
                      <a:pt x="673" y="200"/>
                      <a:pt x="673" y="200"/>
                      <a:pt x="673" y="200"/>
                    </a:cubicBezTo>
                    <a:cubicBezTo>
                      <a:pt x="674" y="200"/>
                      <a:pt x="676" y="200"/>
                      <a:pt x="678" y="200"/>
                    </a:cubicBezTo>
                    <a:cubicBezTo>
                      <a:pt x="680" y="200"/>
                      <a:pt x="682" y="200"/>
                      <a:pt x="683" y="201"/>
                    </a:cubicBezTo>
                    <a:cubicBezTo>
                      <a:pt x="684" y="202"/>
                      <a:pt x="684" y="203"/>
                      <a:pt x="684" y="204"/>
                    </a:cubicBezTo>
                    <a:cubicBezTo>
                      <a:pt x="684" y="206"/>
                      <a:pt x="683" y="207"/>
                      <a:pt x="681" y="208"/>
                    </a:cubicBezTo>
                    <a:cubicBezTo>
                      <a:pt x="681" y="208"/>
                      <a:pt x="681" y="208"/>
                      <a:pt x="681" y="208"/>
                    </a:cubicBezTo>
                    <a:cubicBezTo>
                      <a:pt x="683" y="208"/>
                      <a:pt x="684" y="209"/>
                      <a:pt x="684" y="212"/>
                    </a:cubicBezTo>
                    <a:cubicBezTo>
                      <a:pt x="684" y="214"/>
                      <a:pt x="684" y="215"/>
                      <a:pt x="685" y="215"/>
                    </a:cubicBezTo>
                    <a:cubicBezTo>
                      <a:pt x="681" y="215"/>
                      <a:pt x="681" y="215"/>
                      <a:pt x="681" y="215"/>
                    </a:cubicBezTo>
                    <a:cubicBezTo>
                      <a:pt x="681" y="215"/>
                      <a:pt x="681" y="213"/>
                      <a:pt x="680" y="211"/>
                    </a:cubicBezTo>
                    <a:cubicBezTo>
                      <a:pt x="680" y="210"/>
                      <a:pt x="679" y="209"/>
                      <a:pt x="678" y="209"/>
                    </a:cubicBezTo>
                    <a:cubicBezTo>
                      <a:pt x="676" y="209"/>
                      <a:pt x="676" y="209"/>
                      <a:pt x="676" y="209"/>
                    </a:cubicBezTo>
                    <a:lnTo>
                      <a:pt x="676" y="215"/>
                    </a:lnTo>
                    <a:close/>
                    <a:moveTo>
                      <a:pt x="678" y="197"/>
                    </a:moveTo>
                    <a:cubicBezTo>
                      <a:pt x="673" y="197"/>
                      <a:pt x="668" y="202"/>
                      <a:pt x="668" y="208"/>
                    </a:cubicBezTo>
                    <a:cubicBezTo>
                      <a:pt x="668" y="214"/>
                      <a:pt x="673" y="218"/>
                      <a:pt x="679" y="218"/>
                    </a:cubicBezTo>
                    <a:cubicBezTo>
                      <a:pt x="684" y="218"/>
                      <a:pt x="689" y="214"/>
                      <a:pt x="689" y="208"/>
                    </a:cubicBezTo>
                    <a:cubicBezTo>
                      <a:pt x="689" y="202"/>
                      <a:pt x="684" y="197"/>
                      <a:pt x="679" y="197"/>
                    </a:cubicBezTo>
                    <a:lnTo>
                      <a:pt x="678" y="197"/>
                    </a:lnTo>
                    <a:close/>
                    <a:moveTo>
                      <a:pt x="679" y="194"/>
                    </a:moveTo>
                    <a:cubicBezTo>
                      <a:pt x="686" y="194"/>
                      <a:pt x="692" y="200"/>
                      <a:pt x="692" y="207"/>
                    </a:cubicBezTo>
                    <a:cubicBezTo>
                      <a:pt x="692" y="215"/>
                      <a:pt x="686" y="221"/>
                      <a:pt x="679" y="221"/>
                    </a:cubicBezTo>
                    <a:cubicBezTo>
                      <a:pt x="671" y="221"/>
                      <a:pt x="665" y="215"/>
                      <a:pt x="665" y="207"/>
                    </a:cubicBezTo>
                    <a:cubicBezTo>
                      <a:pt x="665" y="200"/>
                      <a:pt x="671" y="194"/>
                      <a:pt x="679" y="194"/>
                    </a:cubicBez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88" name="Group 187"/>
            <p:cNvGrpSpPr/>
            <p:nvPr/>
          </p:nvGrpSpPr>
          <p:grpSpPr>
            <a:xfrm>
              <a:off x="1656378" y="4243458"/>
              <a:ext cx="745425" cy="745425"/>
              <a:chOff x="1715024" y="5735952"/>
              <a:chExt cx="745531" cy="745531"/>
            </a:xfrm>
          </p:grpSpPr>
          <p:sp>
            <p:nvSpPr>
              <p:cNvPr id="189" name="Oval 188"/>
              <p:cNvSpPr/>
              <p:nvPr/>
            </p:nvSpPr>
            <p:spPr bwMode="auto">
              <a:xfrm>
                <a:off x="1715024" y="5735952"/>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Freeform 9"/>
              <p:cNvSpPr>
                <a:spLocks noChangeAspect="1" noEditPoints="1"/>
              </p:cNvSpPr>
              <p:nvPr/>
            </p:nvSpPr>
            <p:spPr bwMode="auto">
              <a:xfrm>
                <a:off x="1804519" y="6024292"/>
                <a:ext cx="566541" cy="168850"/>
              </a:xfrm>
              <a:custGeom>
                <a:avLst/>
                <a:gdLst>
                  <a:gd name="T0" fmla="*/ 602 w 1281"/>
                  <a:gd name="T1" fmla="*/ 0 h 379"/>
                  <a:gd name="T2" fmla="*/ 889 w 1281"/>
                  <a:gd name="T3" fmla="*/ 117 h 379"/>
                  <a:gd name="T4" fmla="*/ 1010 w 1281"/>
                  <a:gd name="T5" fmla="*/ 117 h 379"/>
                  <a:gd name="T6" fmla="*/ 369 w 1281"/>
                  <a:gd name="T7" fmla="*/ 142 h 379"/>
                  <a:gd name="T8" fmla="*/ 496 w 1281"/>
                  <a:gd name="T9" fmla="*/ 142 h 379"/>
                  <a:gd name="T10" fmla="*/ 327 w 1281"/>
                  <a:gd name="T11" fmla="*/ 73 h 379"/>
                  <a:gd name="T12" fmla="*/ 139 w 1281"/>
                  <a:gd name="T13" fmla="*/ 73 h 379"/>
                  <a:gd name="T14" fmla="*/ 833 w 1281"/>
                  <a:gd name="T15" fmla="*/ 27 h 379"/>
                  <a:gd name="T16" fmla="*/ 1074 w 1281"/>
                  <a:gd name="T17" fmla="*/ 117 h 379"/>
                  <a:gd name="T18" fmla="*/ 1167 w 1281"/>
                  <a:gd name="T19" fmla="*/ 2 h 379"/>
                  <a:gd name="T20" fmla="*/ 1181 w 1281"/>
                  <a:gd name="T21" fmla="*/ 17 h 379"/>
                  <a:gd name="T22" fmla="*/ 1192 w 1281"/>
                  <a:gd name="T23" fmla="*/ 2 h 379"/>
                  <a:gd name="T24" fmla="*/ 1197 w 1281"/>
                  <a:gd name="T25" fmla="*/ 18 h 379"/>
                  <a:gd name="T26" fmla="*/ 1187 w 1281"/>
                  <a:gd name="T27" fmla="*/ 25 h 379"/>
                  <a:gd name="T28" fmla="*/ 1192 w 1281"/>
                  <a:gd name="T29" fmla="*/ 10 h 379"/>
                  <a:gd name="T30" fmla="*/ 67 w 1281"/>
                  <a:gd name="T31" fmla="*/ 301 h 379"/>
                  <a:gd name="T32" fmla="*/ 69 w 1281"/>
                  <a:gd name="T33" fmla="*/ 362 h 379"/>
                  <a:gd name="T34" fmla="*/ 90 w 1281"/>
                  <a:gd name="T35" fmla="*/ 353 h 379"/>
                  <a:gd name="T36" fmla="*/ 210 w 1281"/>
                  <a:gd name="T37" fmla="*/ 321 h 379"/>
                  <a:gd name="T38" fmla="*/ 173 w 1281"/>
                  <a:gd name="T39" fmla="*/ 377 h 379"/>
                  <a:gd name="T40" fmla="*/ 193 w 1281"/>
                  <a:gd name="T41" fmla="*/ 319 h 379"/>
                  <a:gd name="T42" fmla="*/ 160 w 1281"/>
                  <a:gd name="T43" fmla="*/ 362 h 379"/>
                  <a:gd name="T44" fmla="*/ 175 w 1281"/>
                  <a:gd name="T45" fmla="*/ 337 h 379"/>
                  <a:gd name="T46" fmla="*/ 278 w 1281"/>
                  <a:gd name="T47" fmla="*/ 363 h 379"/>
                  <a:gd name="T48" fmla="*/ 312 w 1281"/>
                  <a:gd name="T49" fmla="*/ 357 h 379"/>
                  <a:gd name="T50" fmla="*/ 241 w 1281"/>
                  <a:gd name="T51" fmla="*/ 335 h 379"/>
                  <a:gd name="T52" fmla="*/ 391 w 1281"/>
                  <a:gd name="T53" fmla="*/ 351 h 379"/>
                  <a:gd name="T54" fmla="*/ 354 w 1281"/>
                  <a:gd name="T55" fmla="*/ 287 h 379"/>
                  <a:gd name="T56" fmla="*/ 359 w 1281"/>
                  <a:gd name="T57" fmla="*/ 303 h 379"/>
                  <a:gd name="T58" fmla="*/ 405 w 1281"/>
                  <a:gd name="T59" fmla="*/ 365 h 379"/>
                  <a:gd name="T60" fmla="*/ 450 w 1281"/>
                  <a:gd name="T61" fmla="*/ 286 h 379"/>
                  <a:gd name="T62" fmla="*/ 530 w 1281"/>
                  <a:gd name="T63" fmla="*/ 286 h 379"/>
                  <a:gd name="T64" fmla="*/ 574 w 1281"/>
                  <a:gd name="T65" fmla="*/ 377 h 379"/>
                  <a:gd name="T66" fmla="*/ 638 w 1281"/>
                  <a:gd name="T67" fmla="*/ 337 h 379"/>
                  <a:gd name="T68" fmla="*/ 679 w 1281"/>
                  <a:gd name="T69" fmla="*/ 346 h 379"/>
                  <a:gd name="T70" fmla="*/ 694 w 1281"/>
                  <a:gd name="T71" fmla="*/ 337 h 379"/>
                  <a:gd name="T72" fmla="*/ 733 w 1281"/>
                  <a:gd name="T73" fmla="*/ 312 h 379"/>
                  <a:gd name="T74" fmla="*/ 702 w 1281"/>
                  <a:gd name="T75" fmla="*/ 320 h 379"/>
                  <a:gd name="T76" fmla="*/ 672 w 1281"/>
                  <a:gd name="T77" fmla="*/ 371 h 379"/>
                  <a:gd name="T78" fmla="*/ 809 w 1281"/>
                  <a:gd name="T79" fmla="*/ 351 h 379"/>
                  <a:gd name="T80" fmla="*/ 772 w 1281"/>
                  <a:gd name="T81" fmla="*/ 287 h 379"/>
                  <a:gd name="T82" fmla="*/ 777 w 1281"/>
                  <a:gd name="T83" fmla="*/ 303 h 379"/>
                  <a:gd name="T84" fmla="*/ 824 w 1281"/>
                  <a:gd name="T85" fmla="*/ 365 h 379"/>
                  <a:gd name="T86" fmla="*/ 913 w 1281"/>
                  <a:gd name="T87" fmla="*/ 359 h 379"/>
                  <a:gd name="T88" fmla="*/ 900 w 1281"/>
                  <a:gd name="T89" fmla="*/ 328 h 379"/>
                  <a:gd name="T90" fmla="*/ 942 w 1281"/>
                  <a:gd name="T91" fmla="*/ 313 h 379"/>
                  <a:gd name="T92" fmla="*/ 949 w 1281"/>
                  <a:gd name="T93" fmla="*/ 327 h 379"/>
                  <a:gd name="T94" fmla="*/ 888 w 1281"/>
                  <a:gd name="T95" fmla="*/ 347 h 379"/>
                  <a:gd name="T96" fmla="*/ 1034 w 1281"/>
                  <a:gd name="T97" fmla="*/ 360 h 379"/>
                  <a:gd name="T98" fmla="*/ 1051 w 1281"/>
                  <a:gd name="T99" fmla="*/ 369 h 379"/>
                  <a:gd name="T100" fmla="*/ 985 w 1281"/>
                  <a:gd name="T101" fmla="*/ 286 h 379"/>
                  <a:gd name="T102" fmla="*/ 1147 w 1281"/>
                  <a:gd name="T103" fmla="*/ 301 h 379"/>
                  <a:gd name="T104" fmla="*/ 1147 w 1281"/>
                  <a:gd name="T105" fmla="*/ 377 h 379"/>
                  <a:gd name="T106" fmla="*/ 1276 w 1281"/>
                  <a:gd name="T107" fmla="*/ 321 h 379"/>
                  <a:gd name="T108" fmla="*/ 1280 w 1281"/>
                  <a:gd name="T109" fmla="*/ 20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1" h="379">
                    <a:moveTo>
                      <a:pt x="568" y="92"/>
                    </a:moveTo>
                    <a:cubicBezTo>
                      <a:pt x="638" y="92"/>
                      <a:pt x="638" y="92"/>
                      <a:pt x="638" y="92"/>
                    </a:cubicBezTo>
                    <a:cubicBezTo>
                      <a:pt x="602" y="32"/>
                      <a:pt x="602" y="32"/>
                      <a:pt x="602" y="32"/>
                    </a:cubicBezTo>
                    <a:cubicBezTo>
                      <a:pt x="535" y="142"/>
                      <a:pt x="535" y="142"/>
                      <a:pt x="535" y="142"/>
                    </a:cubicBezTo>
                    <a:cubicBezTo>
                      <a:pt x="503" y="142"/>
                      <a:pt x="503" y="142"/>
                      <a:pt x="503" y="142"/>
                    </a:cubicBezTo>
                    <a:cubicBezTo>
                      <a:pt x="586" y="10"/>
                      <a:pt x="586" y="10"/>
                      <a:pt x="586" y="10"/>
                    </a:cubicBezTo>
                    <a:cubicBezTo>
                      <a:pt x="589" y="4"/>
                      <a:pt x="595" y="0"/>
                      <a:pt x="602" y="0"/>
                    </a:cubicBezTo>
                    <a:cubicBezTo>
                      <a:pt x="608" y="0"/>
                      <a:pt x="614" y="4"/>
                      <a:pt x="618" y="10"/>
                    </a:cubicBezTo>
                    <a:cubicBezTo>
                      <a:pt x="701" y="142"/>
                      <a:pt x="701" y="142"/>
                      <a:pt x="701" y="142"/>
                    </a:cubicBezTo>
                    <a:cubicBezTo>
                      <a:pt x="669" y="142"/>
                      <a:pt x="669" y="142"/>
                      <a:pt x="669" y="142"/>
                    </a:cubicBezTo>
                    <a:cubicBezTo>
                      <a:pt x="654" y="117"/>
                      <a:pt x="654" y="117"/>
                      <a:pt x="654" y="117"/>
                    </a:cubicBezTo>
                    <a:cubicBezTo>
                      <a:pt x="584" y="117"/>
                      <a:pt x="584" y="117"/>
                      <a:pt x="584" y="117"/>
                    </a:cubicBezTo>
                    <a:cubicBezTo>
                      <a:pt x="568" y="92"/>
                      <a:pt x="568" y="92"/>
                      <a:pt x="568" y="92"/>
                    </a:cubicBezTo>
                    <a:close/>
                    <a:moveTo>
                      <a:pt x="889" y="117"/>
                    </a:moveTo>
                    <a:cubicBezTo>
                      <a:pt x="889" y="2"/>
                      <a:pt x="889" y="2"/>
                      <a:pt x="889" y="2"/>
                    </a:cubicBezTo>
                    <a:cubicBezTo>
                      <a:pt x="863" y="2"/>
                      <a:pt x="863" y="2"/>
                      <a:pt x="863" y="2"/>
                    </a:cubicBezTo>
                    <a:cubicBezTo>
                      <a:pt x="863" y="129"/>
                      <a:pt x="863" y="129"/>
                      <a:pt x="863" y="129"/>
                    </a:cubicBezTo>
                    <a:cubicBezTo>
                      <a:pt x="863" y="132"/>
                      <a:pt x="863" y="135"/>
                      <a:pt x="867" y="139"/>
                    </a:cubicBezTo>
                    <a:cubicBezTo>
                      <a:pt x="870" y="142"/>
                      <a:pt x="873" y="142"/>
                      <a:pt x="876" y="142"/>
                    </a:cubicBezTo>
                    <a:cubicBezTo>
                      <a:pt x="996" y="142"/>
                      <a:pt x="996" y="142"/>
                      <a:pt x="996" y="142"/>
                    </a:cubicBezTo>
                    <a:cubicBezTo>
                      <a:pt x="1010" y="117"/>
                      <a:pt x="1010" y="117"/>
                      <a:pt x="1010" y="117"/>
                    </a:cubicBezTo>
                    <a:cubicBezTo>
                      <a:pt x="889" y="117"/>
                      <a:pt x="889" y="117"/>
                      <a:pt x="889" y="117"/>
                    </a:cubicBezTo>
                    <a:close/>
                    <a:moveTo>
                      <a:pt x="456" y="97"/>
                    </a:moveTo>
                    <a:cubicBezTo>
                      <a:pt x="482" y="97"/>
                      <a:pt x="503" y="76"/>
                      <a:pt x="503" y="50"/>
                    </a:cubicBezTo>
                    <a:cubicBezTo>
                      <a:pt x="503" y="23"/>
                      <a:pt x="482" y="2"/>
                      <a:pt x="456" y="2"/>
                    </a:cubicBezTo>
                    <a:cubicBezTo>
                      <a:pt x="341" y="2"/>
                      <a:pt x="341" y="2"/>
                      <a:pt x="341" y="2"/>
                    </a:cubicBezTo>
                    <a:cubicBezTo>
                      <a:pt x="341" y="142"/>
                      <a:pt x="341" y="142"/>
                      <a:pt x="341" y="142"/>
                    </a:cubicBezTo>
                    <a:cubicBezTo>
                      <a:pt x="369" y="142"/>
                      <a:pt x="369" y="142"/>
                      <a:pt x="369" y="142"/>
                    </a:cubicBezTo>
                    <a:cubicBezTo>
                      <a:pt x="369" y="27"/>
                      <a:pt x="369" y="27"/>
                      <a:pt x="369" y="27"/>
                    </a:cubicBezTo>
                    <a:cubicBezTo>
                      <a:pt x="455" y="27"/>
                      <a:pt x="455" y="27"/>
                      <a:pt x="455" y="27"/>
                    </a:cubicBezTo>
                    <a:cubicBezTo>
                      <a:pt x="466" y="27"/>
                      <a:pt x="477" y="37"/>
                      <a:pt x="477" y="50"/>
                    </a:cubicBezTo>
                    <a:cubicBezTo>
                      <a:pt x="477" y="63"/>
                      <a:pt x="466" y="73"/>
                      <a:pt x="455" y="73"/>
                    </a:cubicBezTo>
                    <a:cubicBezTo>
                      <a:pt x="381" y="73"/>
                      <a:pt x="381" y="73"/>
                      <a:pt x="381" y="73"/>
                    </a:cubicBezTo>
                    <a:cubicBezTo>
                      <a:pt x="458" y="142"/>
                      <a:pt x="458" y="142"/>
                      <a:pt x="458" y="142"/>
                    </a:cubicBezTo>
                    <a:cubicBezTo>
                      <a:pt x="496" y="142"/>
                      <a:pt x="496" y="142"/>
                      <a:pt x="496" y="142"/>
                    </a:cubicBezTo>
                    <a:cubicBezTo>
                      <a:pt x="444" y="97"/>
                      <a:pt x="444" y="97"/>
                      <a:pt x="444" y="97"/>
                    </a:cubicBezTo>
                    <a:cubicBezTo>
                      <a:pt x="456" y="97"/>
                      <a:pt x="456" y="97"/>
                      <a:pt x="456" y="97"/>
                    </a:cubicBezTo>
                    <a:close/>
                    <a:moveTo>
                      <a:pt x="180" y="142"/>
                    </a:moveTo>
                    <a:cubicBezTo>
                      <a:pt x="144" y="142"/>
                      <a:pt x="113" y="111"/>
                      <a:pt x="113" y="73"/>
                    </a:cubicBezTo>
                    <a:cubicBezTo>
                      <a:pt x="113" y="33"/>
                      <a:pt x="144" y="2"/>
                      <a:pt x="180" y="2"/>
                    </a:cubicBezTo>
                    <a:cubicBezTo>
                      <a:pt x="260" y="2"/>
                      <a:pt x="260" y="2"/>
                      <a:pt x="260" y="2"/>
                    </a:cubicBezTo>
                    <a:cubicBezTo>
                      <a:pt x="297" y="2"/>
                      <a:pt x="327" y="33"/>
                      <a:pt x="327" y="73"/>
                    </a:cubicBezTo>
                    <a:cubicBezTo>
                      <a:pt x="327" y="111"/>
                      <a:pt x="297" y="142"/>
                      <a:pt x="260" y="142"/>
                    </a:cubicBezTo>
                    <a:cubicBezTo>
                      <a:pt x="180" y="142"/>
                      <a:pt x="180" y="142"/>
                      <a:pt x="180" y="142"/>
                    </a:cubicBezTo>
                    <a:close/>
                    <a:moveTo>
                      <a:pt x="259" y="117"/>
                    </a:moveTo>
                    <a:cubicBezTo>
                      <a:pt x="282" y="117"/>
                      <a:pt x="302" y="97"/>
                      <a:pt x="302" y="73"/>
                    </a:cubicBezTo>
                    <a:cubicBezTo>
                      <a:pt x="302" y="48"/>
                      <a:pt x="282" y="27"/>
                      <a:pt x="259" y="27"/>
                    </a:cubicBezTo>
                    <a:cubicBezTo>
                      <a:pt x="182" y="27"/>
                      <a:pt x="182" y="27"/>
                      <a:pt x="182" y="27"/>
                    </a:cubicBezTo>
                    <a:cubicBezTo>
                      <a:pt x="158" y="27"/>
                      <a:pt x="139" y="48"/>
                      <a:pt x="139" y="73"/>
                    </a:cubicBezTo>
                    <a:cubicBezTo>
                      <a:pt x="139" y="97"/>
                      <a:pt x="158" y="117"/>
                      <a:pt x="182" y="117"/>
                    </a:cubicBezTo>
                    <a:cubicBezTo>
                      <a:pt x="259" y="117"/>
                      <a:pt x="259" y="117"/>
                      <a:pt x="259" y="117"/>
                    </a:cubicBezTo>
                    <a:close/>
                    <a:moveTo>
                      <a:pt x="755" y="142"/>
                    </a:moveTo>
                    <a:cubicBezTo>
                      <a:pt x="717" y="142"/>
                      <a:pt x="686" y="111"/>
                      <a:pt x="686" y="73"/>
                    </a:cubicBezTo>
                    <a:cubicBezTo>
                      <a:pt x="686" y="33"/>
                      <a:pt x="717" y="2"/>
                      <a:pt x="755" y="2"/>
                    </a:cubicBezTo>
                    <a:cubicBezTo>
                      <a:pt x="849" y="2"/>
                      <a:pt x="849" y="2"/>
                      <a:pt x="849" y="2"/>
                    </a:cubicBezTo>
                    <a:cubicBezTo>
                      <a:pt x="833" y="27"/>
                      <a:pt x="833" y="27"/>
                      <a:pt x="833" y="27"/>
                    </a:cubicBezTo>
                    <a:cubicBezTo>
                      <a:pt x="756" y="27"/>
                      <a:pt x="756" y="27"/>
                      <a:pt x="756" y="27"/>
                    </a:cubicBezTo>
                    <a:cubicBezTo>
                      <a:pt x="732" y="27"/>
                      <a:pt x="712" y="48"/>
                      <a:pt x="712" y="73"/>
                    </a:cubicBezTo>
                    <a:cubicBezTo>
                      <a:pt x="712" y="97"/>
                      <a:pt x="732" y="117"/>
                      <a:pt x="756" y="117"/>
                    </a:cubicBezTo>
                    <a:cubicBezTo>
                      <a:pt x="851" y="117"/>
                      <a:pt x="851" y="117"/>
                      <a:pt x="851" y="117"/>
                    </a:cubicBezTo>
                    <a:cubicBezTo>
                      <a:pt x="835" y="142"/>
                      <a:pt x="835" y="142"/>
                      <a:pt x="835" y="142"/>
                    </a:cubicBezTo>
                    <a:cubicBezTo>
                      <a:pt x="755" y="142"/>
                      <a:pt x="755" y="142"/>
                      <a:pt x="755" y="142"/>
                    </a:cubicBezTo>
                    <a:close/>
                    <a:moveTo>
                      <a:pt x="1074" y="117"/>
                    </a:moveTo>
                    <a:cubicBezTo>
                      <a:pt x="1055" y="117"/>
                      <a:pt x="1037" y="104"/>
                      <a:pt x="1033" y="84"/>
                    </a:cubicBezTo>
                    <a:cubicBezTo>
                      <a:pt x="1144" y="84"/>
                      <a:pt x="1144" y="84"/>
                      <a:pt x="1144" y="84"/>
                    </a:cubicBezTo>
                    <a:cubicBezTo>
                      <a:pt x="1160" y="60"/>
                      <a:pt x="1160" y="60"/>
                      <a:pt x="1160" y="60"/>
                    </a:cubicBezTo>
                    <a:cubicBezTo>
                      <a:pt x="1033" y="60"/>
                      <a:pt x="1033" y="60"/>
                      <a:pt x="1033" y="60"/>
                    </a:cubicBezTo>
                    <a:cubicBezTo>
                      <a:pt x="1037" y="41"/>
                      <a:pt x="1055" y="27"/>
                      <a:pt x="1074" y="27"/>
                    </a:cubicBezTo>
                    <a:cubicBezTo>
                      <a:pt x="1151" y="27"/>
                      <a:pt x="1151" y="27"/>
                      <a:pt x="1151" y="27"/>
                    </a:cubicBezTo>
                    <a:cubicBezTo>
                      <a:pt x="1167" y="2"/>
                      <a:pt x="1167" y="2"/>
                      <a:pt x="1167" y="2"/>
                    </a:cubicBezTo>
                    <a:cubicBezTo>
                      <a:pt x="1072" y="2"/>
                      <a:pt x="1072" y="2"/>
                      <a:pt x="1072" y="2"/>
                    </a:cubicBezTo>
                    <a:cubicBezTo>
                      <a:pt x="1036" y="2"/>
                      <a:pt x="1005" y="33"/>
                      <a:pt x="1005" y="73"/>
                    </a:cubicBezTo>
                    <a:cubicBezTo>
                      <a:pt x="1005" y="111"/>
                      <a:pt x="1036" y="142"/>
                      <a:pt x="1072" y="142"/>
                    </a:cubicBezTo>
                    <a:cubicBezTo>
                      <a:pt x="1154" y="142"/>
                      <a:pt x="1154" y="142"/>
                      <a:pt x="1154" y="142"/>
                    </a:cubicBezTo>
                    <a:cubicBezTo>
                      <a:pt x="1168" y="117"/>
                      <a:pt x="1168" y="117"/>
                      <a:pt x="1168" y="117"/>
                    </a:cubicBezTo>
                    <a:cubicBezTo>
                      <a:pt x="1074" y="117"/>
                      <a:pt x="1074" y="117"/>
                      <a:pt x="1074" y="117"/>
                    </a:cubicBezTo>
                    <a:close/>
                    <a:moveTo>
                      <a:pt x="1181" y="17"/>
                    </a:moveTo>
                    <a:cubicBezTo>
                      <a:pt x="1181" y="10"/>
                      <a:pt x="1186" y="5"/>
                      <a:pt x="1192" y="5"/>
                    </a:cubicBezTo>
                    <a:cubicBezTo>
                      <a:pt x="1200" y="5"/>
                      <a:pt x="1205" y="10"/>
                      <a:pt x="1205" y="17"/>
                    </a:cubicBezTo>
                    <a:cubicBezTo>
                      <a:pt x="1205" y="25"/>
                      <a:pt x="1200" y="30"/>
                      <a:pt x="1192" y="30"/>
                    </a:cubicBezTo>
                    <a:cubicBezTo>
                      <a:pt x="1186" y="30"/>
                      <a:pt x="1181" y="25"/>
                      <a:pt x="1181" y="17"/>
                    </a:cubicBezTo>
                    <a:close/>
                    <a:moveTo>
                      <a:pt x="1192" y="33"/>
                    </a:moveTo>
                    <a:cubicBezTo>
                      <a:pt x="1202" y="33"/>
                      <a:pt x="1208" y="27"/>
                      <a:pt x="1208" y="17"/>
                    </a:cubicBezTo>
                    <a:cubicBezTo>
                      <a:pt x="1208" y="9"/>
                      <a:pt x="1202" y="2"/>
                      <a:pt x="1192" y="2"/>
                    </a:cubicBezTo>
                    <a:cubicBezTo>
                      <a:pt x="1184" y="2"/>
                      <a:pt x="1178" y="9"/>
                      <a:pt x="1178" y="17"/>
                    </a:cubicBezTo>
                    <a:cubicBezTo>
                      <a:pt x="1178" y="27"/>
                      <a:pt x="1184" y="33"/>
                      <a:pt x="1192" y="33"/>
                    </a:cubicBezTo>
                    <a:close/>
                    <a:moveTo>
                      <a:pt x="1192" y="9"/>
                    </a:moveTo>
                    <a:cubicBezTo>
                      <a:pt x="1194" y="9"/>
                      <a:pt x="1195" y="9"/>
                      <a:pt x="1195" y="9"/>
                    </a:cubicBezTo>
                    <a:cubicBezTo>
                      <a:pt x="1198" y="10"/>
                      <a:pt x="1198" y="12"/>
                      <a:pt x="1198" y="13"/>
                    </a:cubicBezTo>
                    <a:cubicBezTo>
                      <a:pt x="1198" y="13"/>
                      <a:pt x="1198" y="13"/>
                      <a:pt x="1198" y="15"/>
                    </a:cubicBezTo>
                    <a:cubicBezTo>
                      <a:pt x="1198" y="15"/>
                      <a:pt x="1198" y="17"/>
                      <a:pt x="1197" y="18"/>
                    </a:cubicBezTo>
                    <a:cubicBezTo>
                      <a:pt x="1197" y="18"/>
                      <a:pt x="1197" y="18"/>
                      <a:pt x="1195" y="18"/>
                    </a:cubicBezTo>
                    <a:cubicBezTo>
                      <a:pt x="1200" y="25"/>
                      <a:pt x="1200" y="25"/>
                      <a:pt x="1200" y="25"/>
                    </a:cubicBezTo>
                    <a:cubicBezTo>
                      <a:pt x="1197" y="25"/>
                      <a:pt x="1197" y="25"/>
                      <a:pt x="1197" y="25"/>
                    </a:cubicBezTo>
                    <a:cubicBezTo>
                      <a:pt x="1192" y="18"/>
                      <a:pt x="1192" y="18"/>
                      <a:pt x="1192" y="18"/>
                    </a:cubicBezTo>
                    <a:cubicBezTo>
                      <a:pt x="1190" y="18"/>
                      <a:pt x="1190" y="18"/>
                      <a:pt x="1190" y="18"/>
                    </a:cubicBezTo>
                    <a:cubicBezTo>
                      <a:pt x="1190" y="25"/>
                      <a:pt x="1190" y="25"/>
                      <a:pt x="1190" y="25"/>
                    </a:cubicBezTo>
                    <a:cubicBezTo>
                      <a:pt x="1187" y="25"/>
                      <a:pt x="1187" y="25"/>
                      <a:pt x="1187" y="25"/>
                    </a:cubicBezTo>
                    <a:cubicBezTo>
                      <a:pt x="1187" y="9"/>
                      <a:pt x="1187" y="9"/>
                      <a:pt x="1187" y="9"/>
                    </a:cubicBezTo>
                    <a:cubicBezTo>
                      <a:pt x="1192" y="9"/>
                      <a:pt x="1192" y="9"/>
                      <a:pt x="1192" y="9"/>
                    </a:cubicBezTo>
                    <a:close/>
                    <a:moveTo>
                      <a:pt x="1192" y="17"/>
                    </a:moveTo>
                    <a:cubicBezTo>
                      <a:pt x="1194" y="17"/>
                      <a:pt x="1195" y="15"/>
                      <a:pt x="1195" y="15"/>
                    </a:cubicBezTo>
                    <a:cubicBezTo>
                      <a:pt x="1195" y="13"/>
                      <a:pt x="1195" y="13"/>
                      <a:pt x="1195" y="13"/>
                    </a:cubicBezTo>
                    <a:cubicBezTo>
                      <a:pt x="1195" y="12"/>
                      <a:pt x="1195" y="12"/>
                      <a:pt x="1194" y="12"/>
                    </a:cubicBezTo>
                    <a:cubicBezTo>
                      <a:pt x="1194" y="10"/>
                      <a:pt x="1194" y="10"/>
                      <a:pt x="1192" y="10"/>
                    </a:cubicBezTo>
                    <a:cubicBezTo>
                      <a:pt x="1190" y="10"/>
                      <a:pt x="1190" y="10"/>
                      <a:pt x="1190" y="10"/>
                    </a:cubicBezTo>
                    <a:cubicBezTo>
                      <a:pt x="1190" y="17"/>
                      <a:pt x="1190" y="17"/>
                      <a:pt x="1190" y="17"/>
                    </a:cubicBezTo>
                    <a:cubicBezTo>
                      <a:pt x="1192" y="17"/>
                      <a:pt x="1192" y="17"/>
                      <a:pt x="1192" y="17"/>
                    </a:cubicBezTo>
                    <a:close/>
                    <a:moveTo>
                      <a:pt x="0" y="377"/>
                    </a:moveTo>
                    <a:cubicBezTo>
                      <a:pt x="0" y="286"/>
                      <a:pt x="0" y="286"/>
                      <a:pt x="0" y="286"/>
                    </a:cubicBezTo>
                    <a:cubicBezTo>
                      <a:pt x="67" y="286"/>
                      <a:pt x="67" y="286"/>
                      <a:pt x="67" y="286"/>
                    </a:cubicBezTo>
                    <a:cubicBezTo>
                      <a:pt x="67" y="301"/>
                      <a:pt x="67" y="301"/>
                      <a:pt x="67" y="301"/>
                    </a:cubicBezTo>
                    <a:cubicBezTo>
                      <a:pt x="18" y="301"/>
                      <a:pt x="18" y="301"/>
                      <a:pt x="18" y="301"/>
                    </a:cubicBezTo>
                    <a:cubicBezTo>
                      <a:pt x="18" y="321"/>
                      <a:pt x="18" y="321"/>
                      <a:pt x="18" y="321"/>
                    </a:cubicBezTo>
                    <a:cubicBezTo>
                      <a:pt x="64" y="321"/>
                      <a:pt x="64" y="321"/>
                      <a:pt x="64" y="321"/>
                    </a:cubicBezTo>
                    <a:cubicBezTo>
                      <a:pt x="64" y="337"/>
                      <a:pt x="64" y="337"/>
                      <a:pt x="64" y="337"/>
                    </a:cubicBezTo>
                    <a:cubicBezTo>
                      <a:pt x="18" y="337"/>
                      <a:pt x="18" y="337"/>
                      <a:pt x="18" y="337"/>
                    </a:cubicBezTo>
                    <a:cubicBezTo>
                      <a:pt x="18" y="362"/>
                      <a:pt x="18" y="362"/>
                      <a:pt x="18" y="362"/>
                    </a:cubicBezTo>
                    <a:cubicBezTo>
                      <a:pt x="69" y="362"/>
                      <a:pt x="69" y="362"/>
                      <a:pt x="69" y="362"/>
                    </a:cubicBezTo>
                    <a:cubicBezTo>
                      <a:pt x="69" y="377"/>
                      <a:pt x="69" y="377"/>
                      <a:pt x="69" y="377"/>
                    </a:cubicBezTo>
                    <a:lnTo>
                      <a:pt x="0" y="377"/>
                    </a:lnTo>
                    <a:close/>
                    <a:moveTo>
                      <a:pt x="90" y="353"/>
                    </a:moveTo>
                    <a:cubicBezTo>
                      <a:pt x="90" y="335"/>
                      <a:pt x="90" y="335"/>
                      <a:pt x="90" y="335"/>
                    </a:cubicBezTo>
                    <a:cubicBezTo>
                      <a:pt x="124" y="335"/>
                      <a:pt x="124" y="335"/>
                      <a:pt x="124" y="335"/>
                    </a:cubicBezTo>
                    <a:cubicBezTo>
                      <a:pt x="124" y="353"/>
                      <a:pt x="124" y="353"/>
                      <a:pt x="124" y="353"/>
                    </a:cubicBezTo>
                    <a:lnTo>
                      <a:pt x="90" y="353"/>
                    </a:lnTo>
                    <a:close/>
                    <a:moveTo>
                      <a:pt x="142" y="286"/>
                    </a:moveTo>
                    <a:cubicBezTo>
                      <a:pt x="178" y="286"/>
                      <a:pt x="178" y="286"/>
                      <a:pt x="178" y="286"/>
                    </a:cubicBezTo>
                    <a:cubicBezTo>
                      <a:pt x="185" y="286"/>
                      <a:pt x="191" y="286"/>
                      <a:pt x="194" y="287"/>
                    </a:cubicBezTo>
                    <a:cubicBezTo>
                      <a:pt x="198" y="287"/>
                      <a:pt x="201" y="289"/>
                      <a:pt x="204" y="290"/>
                    </a:cubicBezTo>
                    <a:cubicBezTo>
                      <a:pt x="207" y="292"/>
                      <a:pt x="209" y="295"/>
                      <a:pt x="211" y="298"/>
                    </a:cubicBezTo>
                    <a:cubicBezTo>
                      <a:pt x="213" y="301"/>
                      <a:pt x="214" y="305"/>
                      <a:pt x="214" y="309"/>
                    </a:cubicBezTo>
                    <a:cubicBezTo>
                      <a:pt x="214" y="313"/>
                      <a:pt x="212" y="317"/>
                      <a:pt x="210" y="321"/>
                    </a:cubicBezTo>
                    <a:cubicBezTo>
                      <a:pt x="208" y="324"/>
                      <a:pt x="205" y="327"/>
                      <a:pt x="201" y="329"/>
                    </a:cubicBezTo>
                    <a:cubicBezTo>
                      <a:pt x="206" y="330"/>
                      <a:pt x="211" y="333"/>
                      <a:pt x="214" y="337"/>
                    </a:cubicBezTo>
                    <a:cubicBezTo>
                      <a:pt x="217" y="341"/>
                      <a:pt x="218" y="345"/>
                      <a:pt x="218" y="351"/>
                    </a:cubicBezTo>
                    <a:cubicBezTo>
                      <a:pt x="218" y="355"/>
                      <a:pt x="217" y="359"/>
                      <a:pt x="215" y="363"/>
                    </a:cubicBezTo>
                    <a:cubicBezTo>
                      <a:pt x="213" y="367"/>
                      <a:pt x="211" y="370"/>
                      <a:pt x="207" y="372"/>
                    </a:cubicBezTo>
                    <a:cubicBezTo>
                      <a:pt x="204" y="375"/>
                      <a:pt x="200" y="376"/>
                      <a:pt x="195" y="377"/>
                    </a:cubicBezTo>
                    <a:cubicBezTo>
                      <a:pt x="192" y="377"/>
                      <a:pt x="184" y="377"/>
                      <a:pt x="173" y="377"/>
                    </a:cubicBezTo>
                    <a:cubicBezTo>
                      <a:pt x="142" y="377"/>
                      <a:pt x="142" y="377"/>
                      <a:pt x="142" y="377"/>
                    </a:cubicBezTo>
                    <a:lnTo>
                      <a:pt x="142" y="286"/>
                    </a:lnTo>
                    <a:close/>
                    <a:moveTo>
                      <a:pt x="160" y="301"/>
                    </a:moveTo>
                    <a:cubicBezTo>
                      <a:pt x="160" y="322"/>
                      <a:pt x="160" y="322"/>
                      <a:pt x="160" y="322"/>
                    </a:cubicBezTo>
                    <a:cubicBezTo>
                      <a:pt x="172" y="322"/>
                      <a:pt x="172" y="322"/>
                      <a:pt x="172" y="322"/>
                    </a:cubicBezTo>
                    <a:cubicBezTo>
                      <a:pt x="179" y="322"/>
                      <a:pt x="184" y="322"/>
                      <a:pt x="185" y="322"/>
                    </a:cubicBezTo>
                    <a:cubicBezTo>
                      <a:pt x="189" y="321"/>
                      <a:pt x="191" y="320"/>
                      <a:pt x="193" y="319"/>
                    </a:cubicBezTo>
                    <a:cubicBezTo>
                      <a:pt x="195" y="317"/>
                      <a:pt x="196" y="314"/>
                      <a:pt x="196" y="311"/>
                    </a:cubicBezTo>
                    <a:cubicBezTo>
                      <a:pt x="196" y="309"/>
                      <a:pt x="195" y="306"/>
                      <a:pt x="193" y="305"/>
                    </a:cubicBezTo>
                    <a:cubicBezTo>
                      <a:pt x="192" y="303"/>
                      <a:pt x="189" y="302"/>
                      <a:pt x="186" y="301"/>
                    </a:cubicBezTo>
                    <a:cubicBezTo>
                      <a:pt x="185" y="301"/>
                      <a:pt x="179" y="301"/>
                      <a:pt x="171" y="301"/>
                    </a:cubicBezTo>
                    <a:lnTo>
                      <a:pt x="160" y="301"/>
                    </a:lnTo>
                    <a:close/>
                    <a:moveTo>
                      <a:pt x="160" y="337"/>
                    </a:moveTo>
                    <a:cubicBezTo>
                      <a:pt x="160" y="362"/>
                      <a:pt x="160" y="362"/>
                      <a:pt x="160" y="362"/>
                    </a:cubicBezTo>
                    <a:cubicBezTo>
                      <a:pt x="177" y="362"/>
                      <a:pt x="177" y="362"/>
                      <a:pt x="177" y="362"/>
                    </a:cubicBezTo>
                    <a:cubicBezTo>
                      <a:pt x="184" y="362"/>
                      <a:pt x="188" y="362"/>
                      <a:pt x="190" y="361"/>
                    </a:cubicBezTo>
                    <a:cubicBezTo>
                      <a:pt x="192" y="361"/>
                      <a:pt x="195" y="360"/>
                      <a:pt x="196" y="358"/>
                    </a:cubicBezTo>
                    <a:cubicBezTo>
                      <a:pt x="198" y="356"/>
                      <a:pt x="199" y="353"/>
                      <a:pt x="199" y="350"/>
                    </a:cubicBezTo>
                    <a:cubicBezTo>
                      <a:pt x="199" y="347"/>
                      <a:pt x="198" y="345"/>
                      <a:pt x="197" y="343"/>
                    </a:cubicBezTo>
                    <a:cubicBezTo>
                      <a:pt x="196" y="341"/>
                      <a:pt x="194" y="340"/>
                      <a:pt x="191" y="339"/>
                    </a:cubicBezTo>
                    <a:cubicBezTo>
                      <a:pt x="189" y="338"/>
                      <a:pt x="183" y="337"/>
                      <a:pt x="175" y="337"/>
                    </a:cubicBezTo>
                    <a:lnTo>
                      <a:pt x="160" y="337"/>
                    </a:lnTo>
                    <a:close/>
                    <a:moveTo>
                      <a:pt x="241" y="286"/>
                    </a:moveTo>
                    <a:cubicBezTo>
                      <a:pt x="259" y="286"/>
                      <a:pt x="259" y="286"/>
                      <a:pt x="259" y="286"/>
                    </a:cubicBezTo>
                    <a:cubicBezTo>
                      <a:pt x="259" y="335"/>
                      <a:pt x="259" y="335"/>
                      <a:pt x="259" y="335"/>
                    </a:cubicBezTo>
                    <a:cubicBezTo>
                      <a:pt x="259" y="343"/>
                      <a:pt x="259" y="348"/>
                      <a:pt x="260" y="351"/>
                    </a:cubicBezTo>
                    <a:cubicBezTo>
                      <a:pt x="261" y="354"/>
                      <a:pt x="262" y="357"/>
                      <a:pt x="265" y="360"/>
                    </a:cubicBezTo>
                    <a:cubicBezTo>
                      <a:pt x="268" y="362"/>
                      <a:pt x="272" y="363"/>
                      <a:pt x="278" y="363"/>
                    </a:cubicBezTo>
                    <a:cubicBezTo>
                      <a:pt x="283" y="363"/>
                      <a:pt x="287" y="362"/>
                      <a:pt x="289" y="360"/>
                    </a:cubicBezTo>
                    <a:cubicBezTo>
                      <a:pt x="292" y="358"/>
                      <a:pt x="294" y="355"/>
                      <a:pt x="294" y="352"/>
                    </a:cubicBezTo>
                    <a:cubicBezTo>
                      <a:pt x="295" y="349"/>
                      <a:pt x="295" y="344"/>
                      <a:pt x="295" y="336"/>
                    </a:cubicBezTo>
                    <a:cubicBezTo>
                      <a:pt x="295" y="286"/>
                      <a:pt x="295" y="286"/>
                      <a:pt x="295" y="286"/>
                    </a:cubicBezTo>
                    <a:cubicBezTo>
                      <a:pt x="313" y="286"/>
                      <a:pt x="313" y="286"/>
                      <a:pt x="313" y="286"/>
                    </a:cubicBezTo>
                    <a:cubicBezTo>
                      <a:pt x="313" y="334"/>
                      <a:pt x="313" y="334"/>
                      <a:pt x="313" y="334"/>
                    </a:cubicBezTo>
                    <a:cubicBezTo>
                      <a:pt x="313" y="345"/>
                      <a:pt x="313" y="353"/>
                      <a:pt x="312" y="357"/>
                    </a:cubicBezTo>
                    <a:cubicBezTo>
                      <a:pt x="311" y="362"/>
                      <a:pt x="309" y="365"/>
                      <a:pt x="306" y="369"/>
                    </a:cubicBezTo>
                    <a:cubicBezTo>
                      <a:pt x="304" y="372"/>
                      <a:pt x="300" y="374"/>
                      <a:pt x="296" y="376"/>
                    </a:cubicBezTo>
                    <a:cubicBezTo>
                      <a:pt x="291" y="378"/>
                      <a:pt x="285" y="379"/>
                      <a:pt x="278" y="379"/>
                    </a:cubicBezTo>
                    <a:cubicBezTo>
                      <a:pt x="269" y="379"/>
                      <a:pt x="263" y="378"/>
                      <a:pt x="258" y="376"/>
                    </a:cubicBezTo>
                    <a:cubicBezTo>
                      <a:pt x="254" y="374"/>
                      <a:pt x="250" y="371"/>
                      <a:pt x="248" y="368"/>
                    </a:cubicBezTo>
                    <a:cubicBezTo>
                      <a:pt x="245" y="365"/>
                      <a:pt x="243" y="361"/>
                      <a:pt x="242" y="358"/>
                    </a:cubicBezTo>
                    <a:cubicBezTo>
                      <a:pt x="241" y="352"/>
                      <a:pt x="241" y="345"/>
                      <a:pt x="241" y="335"/>
                    </a:cubicBezTo>
                    <a:lnTo>
                      <a:pt x="241" y="286"/>
                    </a:lnTo>
                    <a:close/>
                    <a:moveTo>
                      <a:pt x="335" y="347"/>
                    </a:moveTo>
                    <a:cubicBezTo>
                      <a:pt x="353" y="346"/>
                      <a:pt x="353" y="346"/>
                      <a:pt x="353" y="346"/>
                    </a:cubicBezTo>
                    <a:cubicBezTo>
                      <a:pt x="354" y="352"/>
                      <a:pt x="356" y="356"/>
                      <a:pt x="360" y="359"/>
                    </a:cubicBezTo>
                    <a:cubicBezTo>
                      <a:pt x="363" y="362"/>
                      <a:pt x="368" y="363"/>
                      <a:pt x="373" y="363"/>
                    </a:cubicBezTo>
                    <a:cubicBezTo>
                      <a:pt x="379" y="363"/>
                      <a:pt x="384" y="362"/>
                      <a:pt x="387" y="359"/>
                    </a:cubicBezTo>
                    <a:cubicBezTo>
                      <a:pt x="390" y="357"/>
                      <a:pt x="391" y="354"/>
                      <a:pt x="391" y="351"/>
                    </a:cubicBezTo>
                    <a:cubicBezTo>
                      <a:pt x="391" y="348"/>
                      <a:pt x="390" y="347"/>
                      <a:pt x="389" y="345"/>
                    </a:cubicBezTo>
                    <a:cubicBezTo>
                      <a:pt x="388" y="344"/>
                      <a:pt x="386" y="342"/>
                      <a:pt x="383" y="341"/>
                    </a:cubicBezTo>
                    <a:cubicBezTo>
                      <a:pt x="380" y="340"/>
                      <a:pt x="376" y="339"/>
                      <a:pt x="368" y="337"/>
                    </a:cubicBezTo>
                    <a:cubicBezTo>
                      <a:pt x="358" y="335"/>
                      <a:pt x="351" y="332"/>
                      <a:pt x="347" y="328"/>
                    </a:cubicBezTo>
                    <a:cubicBezTo>
                      <a:pt x="341" y="323"/>
                      <a:pt x="339" y="317"/>
                      <a:pt x="339" y="310"/>
                    </a:cubicBezTo>
                    <a:cubicBezTo>
                      <a:pt x="339" y="305"/>
                      <a:pt x="340" y="301"/>
                      <a:pt x="343" y="297"/>
                    </a:cubicBezTo>
                    <a:cubicBezTo>
                      <a:pt x="345" y="293"/>
                      <a:pt x="349" y="290"/>
                      <a:pt x="354" y="287"/>
                    </a:cubicBezTo>
                    <a:cubicBezTo>
                      <a:pt x="359" y="285"/>
                      <a:pt x="365" y="284"/>
                      <a:pt x="372" y="284"/>
                    </a:cubicBezTo>
                    <a:cubicBezTo>
                      <a:pt x="383" y="284"/>
                      <a:pt x="392" y="287"/>
                      <a:pt x="398" y="292"/>
                    </a:cubicBezTo>
                    <a:cubicBezTo>
                      <a:pt x="404" y="297"/>
                      <a:pt x="407" y="304"/>
                      <a:pt x="407" y="312"/>
                    </a:cubicBezTo>
                    <a:cubicBezTo>
                      <a:pt x="389" y="313"/>
                      <a:pt x="389" y="313"/>
                      <a:pt x="389" y="313"/>
                    </a:cubicBezTo>
                    <a:cubicBezTo>
                      <a:pt x="388" y="308"/>
                      <a:pt x="386" y="305"/>
                      <a:pt x="383" y="303"/>
                    </a:cubicBezTo>
                    <a:cubicBezTo>
                      <a:pt x="381" y="301"/>
                      <a:pt x="377" y="299"/>
                      <a:pt x="372" y="299"/>
                    </a:cubicBezTo>
                    <a:cubicBezTo>
                      <a:pt x="366" y="299"/>
                      <a:pt x="362" y="301"/>
                      <a:pt x="359" y="303"/>
                    </a:cubicBezTo>
                    <a:cubicBezTo>
                      <a:pt x="357" y="304"/>
                      <a:pt x="356" y="306"/>
                      <a:pt x="356" y="308"/>
                    </a:cubicBezTo>
                    <a:cubicBezTo>
                      <a:pt x="356" y="311"/>
                      <a:pt x="357" y="312"/>
                      <a:pt x="359" y="314"/>
                    </a:cubicBezTo>
                    <a:cubicBezTo>
                      <a:pt x="361" y="316"/>
                      <a:pt x="367" y="318"/>
                      <a:pt x="376" y="320"/>
                    </a:cubicBezTo>
                    <a:cubicBezTo>
                      <a:pt x="385" y="322"/>
                      <a:pt x="392" y="324"/>
                      <a:pt x="396" y="327"/>
                    </a:cubicBezTo>
                    <a:cubicBezTo>
                      <a:pt x="400" y="329"/>
                      <a:pt x="404" y="332"/>
                      <a:pt x="406" y="336"/>
                    </a:cubicBezTo>
                    <a:cubicBezTo>
                      <a:pt x="408" y="340"/>
                      <a:pt x="410" y="345"/>
                      <a:pt x="410" y="351"/>
                    </a:cubicBezTo>
                    <a:cubicBezTo>
                      <a:pt x="410" y="356"/>
                      <a:pt x="408" y="361"/>
                      <a:pt x="405" y="365"/>
                    </a:cubicBezTo>
                    <a:cubicBezTo>
                      <a:pt x="402" y="370"/>
                      <a:pt x="398" y="373"/>
                      <a:pt x="393" y="375"/>
                    </a:cubicBezTo>
                    <a:cubicBezTo>
                      <a:pt x="388" y="378"/>
                      <a:pt x="381" y="379"/>
                      <a:pt x="373" y="379"/>
                    </a:cubicBezTo>
                    <a:cubicBezTo>
                      <a:pt x="361" y="379"/>
                      <a:pt x="353" y="376"/>
                      <a:pt x="346" y="371"/>
                    </a:cubicBezTo>
                    <a:cubicBezTo>
                      <a:pt x="340" y="365"/>
                      <a:pt x="336" y="358"/>
                      <a:pt x="335" y="347"/>
                    </a:cubicBezTo>
                    <a:close/>
                    <a:moveTo>
                      <a:pt x="432" y="377"/>
                    </a:moveTo>
                    <a:cubicBezTo>
                      <a:pt x="432" y="286"/>
                      <a:pt x="432" y="286"/>
                      <a:pt x="432" y="286"/>
                    </a:cubicBezTo>
                    <a:cubicBezTo>
                      <a:pt x="450" y="286"/>
                      <a:pt x="450" y="286"/>
                      <a:pt x="450" y="286"/>
                    </a:cubicBezTo>
                    <a:cubicBezTo>
                      <a:pt x="450" y="377"/>
                      <a:pt x="450" y="377"/>
                      <a:pt x="450" y="377"/>
                    </a:cubicBezTo>
                    <a:lnTo>
                      <a:pt x="432" y="377"/>
                    </a:lnTo>
                    <a:close/>
                    <a:moveTo>
                      <a:pt x="475" y="377"/>
                    </a:moveTo>
                    <a:cubicBezTo>
                      <a:pt x="475" y="286"/>
                      <a:pt x="475" y="286"/>
                      <a:pt x="475" y="286"/>
                    </a:cubicBezTo>
                    <a:cubicBezTo>
                      <a:pt x="493" y="286"/>
                      <a:pt x="493" y="286"/>
                      <a:pt x="493" y="286"/>
                    </a:cubicBezTo>
                    <a:cubicBezTo>
                      <a:pt x="530" y="347"/>
                      <a:pt x="530" y="347"/>
                      <a:pt x="530" y="347"/>
                    </a:cubicBezTo>
                    <a:cubicBezTo>
                      <a:pt x="530" y="286"/>
                      <a:pt x="530" y="286"/>
                      <a:pt x="530" y="286"/>
                    </a:cubicBezTo>
                    <a:cubicBezTo>
                      <a:pt x="547" y="286"/>
                      <a:pt x="547" y="286"/>
                      <a:pt x="547" y="286"/>
                    </a:cubicBezTo>
                    <a:cubicBezTo>
                      <a:pt x="547" y="377"/>
                      <a:pt x="547" y="377"/>
                      <a:pt x="547" y="377"/>
                    </a:cubicBezTo>
                    <a:cubicBezTo>
                      <a:pt x="529" y="377"/>
                      <a:pt x="529" y="377"/>
                      <a:pt x="529" y="377"/>
                    </a:cubicBezTo>
                    <a:cubicBezTo>
                      <a:pt x="492" y="318"/>
                      <a:pt x="492" y="318"/>
                      <a:pt x="492" y="318"/>
                    </a:cubicBezTo>
                    <a:cubicBezTo>
                      <a:pt x="492" y="377"/>
                      <a:pt x="492" y="377"/>
                      <a:pt x="492" y="377"/>
                    </a:cubicBezTo>
                    <a:lnTo>
                      <a:pt x="475" y="377"/>
                    </a:lnTo>
                    <a:close/>
                    <a:moveTo>
                      <a:pt x="574" y="377"/>
                    </a:moveTo>
                    <a:cubicBezTo>
                      <a:pt x="574" y="286"/>
                      <a:pt x="574" y="286"/>
                      <a:pt x="574" y="286"/>
                    </a:cubicBezTo>
                    <a:cubicBezTo>
                      <a:pt x="642" y="286"/>
                      <a:pt x="642" y="286"/>
                      <a:pt x="642" y="286"/>
                    </a:cubicBezTo>
                    <a:cubicBezTo>
                      <a:pt x="642" y="301"/>
                      <a:pt x="642" y="301"/>
                      <a:pt x="642" y="301"/>
                    </a:cubicBezTo>
                    <a:cubicBezTo>
                      <a:pt x="592" y="301"/>
                      <a:pt x="592" y="301"/>
                      <a:pt x="592" y="301"/>
                    </a:cubicBezTo>
                    <a:cubicBezTo>
                      <a:pt x="592" y="321"/>
                      <a:pt x="592" y="321"/>
                      <a:pt x="592" y="321"/>
                    </a:cubicBezTo>
                    <a:cubicBezTo>
                      <a:pt x="638" y="321"/>
                      <a:pt x="638" y="321"/>
                      <a:pt x="638" y="321"/>
                    </a:cubicBezTo>
                    <a:cubicBezTo>
                      <a:pt x="638" y="337"/>
                      <a:pt x="638" y="337"/>
                      <a:pt x="638" y="337"/>
                    </a:cubicBezTo>
                    <a:cubicBezTo>
                      <a:pt x="592" y="337"/>
                      <a:pt x="592" y="337"/>
                      <a:pt x="592" y="337"/>
                    </a:cubicBezTo>
                    <a:cubicBezTo>
                      <a:pt x="592" y="362"/>
                      <a:pt x="592" y="362"/>
                      <a:pt x="592" y="362"/>
                    </a:cubicBezTo>
                    <a:cubicBezTo>
                      <a:pt x="643" y="362"/>
                      <a:pt x="643" y="362"/>
                      <a:pt x="643" y="362"/>
                    </a:cubicBezTo>
                    <a:cubicBezTo>
                      <a:pt x="643" y="377"/>
                      <a:pt x="643" y="377"/>
                      <a:pt x="643" y="377"/>
                    </a:cubicBezTo>
                    <a:lnTo>
                      <a:pt x="574" y="377"/>
                    </a:lnTo>
                    <a:close/>
                    <a:moveTo>
                      <a:pt x="661" y="347"/>
                    </a:moveTo>
                    <a:cubicBezTo>
                      <a:pt x="679" y="346"/>
                      <a:pt x="679" y="346"/>
                      <a:pt x="679" y="346"/>
                    </a:cubicBezTo>
                    <a:cubicBezTo>
                      <a:pt x="680" y="352"/>
                      <a:pt x="683" y="356"/>
                      <a:pt x="686" y="359"/>
                    </a:cubicBezTo>
                    <a:cubicBezTo>
                      <a:pt x="689" y="362"/>
                      <a:pt x="694" y="363"/>
                      <a:pt x="699" y="363"/>
                    </a:cubicBezTo>
                    <a:cubicBezTo>
                      <a:pt x="705" y="363"/>
                      <a:pt x="710" y="362"/>
                      <a:pt x="713" y="359"/>
                    </a:cubicBezTo>
                    <a:cubicBezTo>
                      <a:pt x="716" y="357"/>
                      <a:pt x="717" y="354"/>
                      <a:pt x="717" y="351"/>
                    </a:cubicBezTo>
                    <a:cubicBezTo>
                      <a:pt x="717" y="348"/>
                      <a:pt x="717" y="347"/>
                      <a:pt x="715" y="345"/>
                    </a:cubicBezTo>
                    <a:cubicBezTo>
                      <a:pt x="714" y="344"/>
                      <a:pt x="712" y="342"/>
                      <a:pt x="709" y="341"/>
                    </a:cubicBezTo>
                    <a:cubicBezTo>
                      <a:pt x="707" y="340"/>
                      <a:pt x="702" y="339"/>
                      <a:pt x="694" y="337"/>
                    </a:cubicBezTo>
                    <a:cubicBezTo>
                      <a:pt x="684" y="335"/>
                      <a:pt x="677" y="332"/>
                      <a:pt x="673" y="328"/>
                    </a:cubicBezTo>
                    <a:cubicBezTo>
                      <a:pt x="668" y="323"/>
                      <a:pt x="665" y="317"/>
                      <a:pt x="665" y="310"/>
                    </a:cubicBezTo>
                    <a:cubicBezTo>
                      <a:pt x="665" y="305"/>
                      <a:pt x="666" y="301"/>
                      <a:pt x="669" y="297"/>
                    </a:cubicBezTo>
                    <a:cubicBezTo>
                      <a:pt x="671" y="293"/>
                      <a:pt x="675" y="290"/>
                      <a:pt x="680" y="287"/>
                    </a:cubicBezTo>
                    <a:cubicBezTo>
                      <a:pt x="685" y="285"/>
                      <a:pt x="691" y="284"/>
                      <a:pt x="698" y="284"/>
                    </a:cubicBezTo>
                    <a:cubicBezTo>
                      <a:pt x="710" y="284"/>
                      <a:pt x="718" y="287"/>
                      <a:pt x="724" y="292"/>
                    </a:cubicBezTo>
                    <a:cubicBezTo>
                      <a:pt x="730" y="297"/>
                      <a:pt x="733" y="304"/>
                      <a:pt x="733" y="312"/>
                    </a:cubicBezTo>
                    <a:cubicBezTo>
                      <a:pt x="715" y="313"/>
                      <a:pt x="715" y="313"/>
                      <a:pt x="715" y="313"/>
                    </a:cubicBezTo>
                    <a:cubicBezTo>
                      <a:pt x="714" y="308"/>
                      <a:pt x="712" y="305"/>
                      <a:pt x="710" y="303"/>
                    </a:cubicBezTo>
                    <a:cubicBezTo>
                      <a:pt x="707" y="301"/>
                      <a:pt x="703" y="299"/>
                      <a:pt x="698" y="299"/>
                    </a:cubicBezTo>
                    <a:cubicBezTo>
                      <a:pt x="693" y="299"/>
                      <a:pt x="688" y="301"/>
                      <a:pt x="685" y="303"/>
                    </a:cubicBezTo>
                    <a:cubicBezTo>
                      <a:pt x="683" y="304"/>
                      <a:pt x="682" y="306"/>
                      <a:pt x="682" y="308"/>
                    </a:cubicBezTo>
                    <a:cubicBezTo>
                      <a:pt x="682" y="311"/>
                      <a:pt x="683" y="312"/>
                      <a:pt x="685" y="314"/>
                    </a:cubicBezTo>
                    <a:cubicBezTo>
                      <a:pt x="687" y="316"/>
                      <a:pt x="693" y="318"/>
                      <a:pt x="702" y="320"/>
                    </a:cubicBezTo>
                    <a:cubicBezTo>
                      <a:pt x="711" y="322"/>
                      <a:pt x="718" y="324"/>
                      <a:pt x="722" y="327"/>
                    </a:cubicBezTo>
                    <a:cubicBezTo>
                      <a:pt x="726" y="329"/>
                      <a:pt x="730" y="332"/>
                      <a:pt x="732" y="336"/>
                    </a:cubicBezTo>
                    <a:cubicBezTo>
                      <a:pt x="734" y="340"/>
                      <a:pt x="736" y="345"/>
                      <a:pt x="736" y="351"/>
                    </a:cubicBezTo>
                    <a:cubicBezTo>
                      <a:pt x="736" y="356"/>
                      <a:pt x="734" y="361"/>
                      <a:pt x="731" y="365"/>
                    </a:cubicBezTo>
                    <a:cubicBezTo>
                      <a:pt x="728" y="370"/>
                      <a:pt x="724" y="373"/>
                      <a:pt x="719" y="375"/>
                    </a:cubicBezTo>
                    <a:cubicBezTo>
                      <a:pt x="714" y="378"/>
                      <a:pt x="707" y="379"/>
                      <a:pt x="699" y="379"/>
                    </a:cubicBezTo>
                    <a:cubicBezTo>
                      <a:pt x="688" y="379"/>
                      <a:pt x="679" y="376"/>
                      <a:pt x="672" y="371"/>
                    </a:cubicBezTo>
                    <a:cubicBezTo>
                      <a:pt x="666" y="365"/>
                      <a:pt x="663" y="358"/>
                      <a:pt x="661" y="347"/>
                    </a:cubicBezTo>
                    <a:close/>
                    <a:moveTo>
                      <a:pt x="754" y="347"/>
                    </a:moveTo>
                    <a:cubicBezTo>
                      <a:pt x="772" y="346"/>
                      <a:pt x="772" y="346"/>
                      <a:pt x="772" y="346"/>
                    </a:cubicBezTo>
                    <a:cubicBezTo>
                      <a:pt x="773" y="352"/>
                      <a:pt x="775" y="356"/>
                      <a:pt x="778" y="359"/>
                    </a:cubicBezTo>
                    <a:cubicBezTo>
                      <a:pt x="781" y="362"/>
                      <a:pt x="786" y="363"/>
                      <a:pt x="791" y="363"/>
                    </a:cubicBezTo>
                    <a:cubicBezTo>
                      <a:pt x="797" y="363"/>
                      <a:pt x="802" y="362"/>
                      <a:pt x="805" y="359"/>
                    </a:cubicBezTo>
                    <a:cubicBezTo>
                      <a:pt x="808" y="357"/>
                      <a:pt x="809" y="354"/>
                      <a:pt x="809" y="351"/>
                    </a:cubicBezTo>
                    <a:cubicBezTo>
                      <a:pt x="809" y="348"/>
                      <a:pt x="809" y="347"/>
                      <a:pt x="808" y="345"/>
                    </a:cubicBezTo>
                    <a:cubicBezTo>
                      <a:pt x="806" y="344"/>
                      <a:pt x="804" y="342"/>
                      <a:pt x="801" y="341"/>
                    </a:cubicBezTo>
                    <a:cubicBezTo>
                      <a:pt x="799" y="340"/>
                      <a:pt x="794" y="339"/>
                      <a:pt x="786" y="337"/>
                    </a:cubicBezTo>
                    <a:cubicBezTo>
                      <a:pt x="776" y="335"/>
                      <a:pt x="769" y="332"/>
                      <a:pt x="765" y="328"/>
                    </a:cubicBezTo>
                    <a:cubicBezTo>
                      <a:pt x="760" y="323"/>
                      <a:pt x="757" y="317"/>
                      <a:pt x="757" y="310"/>
                    </a:cubicBezTo>
                    <a:cubicBezTo>
                      <a:pt x="757" y="305"/>
                      <a:pt x="758" y="301"/>
                      <a:pt x="761" y="297"/>
                    </a:cubicBezTo>
                    <a:cubicBezTo>
                      <a:pt x="763" y="293"/>
                      <a:pt x="767" y="290"/>
                      <a:pt x="772" y="287"/>
                    </a:cubicBezTo>
                    <a:cubicBezTo>
                      <a:pt x="777" y="285"/>
                      <a:pt x="783" y="284"/>
                      <a:pt x="790" y="284"/>
                    </a:cubicBezTo>
                    <a:cubicBezTo>
                      <a:pt x="802" y="284"/>
                      <a:pt x="810" y="287"/>
                      <a:pt x="816" y="292"/>
                    </a:cubicBezTo>
                    <a:cubicBezTo>
                      <a:pt x="822" y="297"/>
                      <a:pt x="825" y="304"/>
                      <a:pt x="825" y="312"/>
                    </a:cubicBezTo>
                    <a:cubicBezTo>
                      <a:pt x="807" y="313"/>
                      <a:pt x="807" y="313"/>
                      <a:pt x="807" y="313"/>
                    </a:cubicBezTo>
                    <a:cubicBezTo>
                      <a:pt x="806" y="308"/>
                      <a:pt x="804" y="305"/>
                      <a:pt x="802" y="303"/>
                    </a:cubicBezTo>
                    <a:cubicBezTo>
                      <a:pt x="799" y="301"/>
                      <a:pt x="795" y="299"/>
                      <a:pt x="790" y="299"/>
                    </a:cubicBezTo>
                    <a:cubicBezTo>
                      <a:pt x="785" y="299"/>
                      <a:pt x="780" y="301"/>
                      <a:pt x="777" y="303"/>
                    </a:cubicBezTo>
                    <a:cubicBezTo>
                      <a:pt x="776" y="304"/>
                      <a:pt x="775" y="306"/>
                      <a:pt x="775" y="308"/>
                    </a:cubicBezTo>
                    <a:cubicBezTo>
                      <a:pt x="775" y="311"/>
                      <a:pt x="775" y="312"/>
                      <a:pt x="777" y="314"/>
                    </a:cubicBezTo>
                    <a:cubicBezTo>
                      <a:pt x="780" y="316"/>
                      <a:pt x="785" y="318"/>
                      <a:pt x="794" y="320"/>
                    </a:cubicBezTo>
                    <a:cubicBezTo>
                      <a:pt x="803" y="322"/>
                      <a:pt x="810" y="324"/>
                      <a:pt x="814" y="327"/>
                    </a:cubicBezTo>
                    <a:cubicBezTo>
                      <a:pt x="818" y="329"/>
                      <a:pt x="822" y="332"/>
                      <a:pt x="824" y="336"/>
                    </a:cubicBezTo>
                    <a:cubicBezTo>
                      <a:pt x="827" y="340"/>
                      <a:pt x="828" y="345"/>
                      <a:pt x="828" y="351"/>
                    </a:cubicBezTo>
                    <a:cubicBezTo>
                      <a:pt x="828" y="356"/>
                      <a:pt x="826" y="361"/>
                      <a:pt x="824" y="365"/>
                    </a:cubicBezTo>
                    <a:cubicBezTo>
                      <a:pt x="821" y="370"/>
                      <a:pt x="817" y="373"/>
                      <a:pt x="811" y="375"/>
                    </a:cubicBezTo>
                    <a:cubicBezTo>
                      <a:pt x="806" y="378"/>
                      <a:pt x="799" y="379"/>
                      <a:pt x="791" y="379"/>
                    </a:cubicBezTo>
                    <a:cubicBezTo>
                      <a:pt x="780" y="379"/>
                      <a:pt x="771" y="376"/>
                      <a:pt x="765" y="371"/>
                    </a:cubicBezTo>
                    <a:cubicBezTo>
                      <a:pt x="758" y="365"/>
                      <a:pt x="755" y="358"/>
                      <a:pt x="754" y="347"/>
                    </a:cubicBezTo>
                    <a:close/>
                    <a:moveTo>
                      <a:pt x="888" y="347"/>
                    </a:moveTo>
                    <a:cubicBezTo>
                      <a:pt x="906" y="346"/>
                      <a:pt x="906" y="346"/>
                      <a:pt x="906" y="346"/>
                    </a:cubicBezTo>
                    <a:cubicBezTo>
                      <a:pt x="907" y="352"/>
                      <a:pt x="910" y="356"/>
                      <a:pt x="913" y="359"/>
                    </a:cubicBezTo>
                    <a:cubicBezTo>
                      <a:pt x="916" y="362"/>
                      <a:pt x="921" y="363"/>
                      <a:pt x="926" y="363"/>
                    </a:cubicBezTo>
                    <a:cubicBezTo>
                      <a:pt x="932" y="363"/>
                      <a:pt x="937" y="362"/>
                      <a:pt x="940" y="359"/>
                    </a:cubicBezTo>
                    <a:cubicBezTo>
                      <a:pt x="943" y="357"/>
                      <a:pt x="944" y="354"/>
                      <a:pt x="944" y="351"/>
                    </a:cubicBezTo>
                    <a:cubicBezTo>
                      <a:pt x="944" y="348"/>
                      <a:pt x="944" y="347"/>
                      <a:pt x="942" y="345"/>
                    </a:cubicBezTo>
                    <a:cubicBezTo>
                      <a:pt x="941" y="344"/>
                      <a:pt x="939" y="342"/>
                      <a:pt x="936" y="341"/>
                    </a:cubicBezTo>
                    <a:cubicBezTo>
                      <a:pt x="933" y="340"/>
                      <a:pt x="929" y="339"/>
                      <a:pt x="921" y="337"/>
                    </a:cubicBezTo>
                    <a:cubicBezTo>
                      <a:pt x="911" y="335"/>
                      <a:pt x="904" y="332"/>
                      <a:pt x="900" y="328"/>
                    </a:cubicBezTo>
                    <a:cubicBezTo>
                      <a:pt x="894" y="323"/>
                      <a:pt x="892" y="317"/>
                      <a:pt x="892" y="310"/>
                    </a:cubicBezTo>
                    <a:cubicBezTo>
                      <a:pt x="892" y="305"/>
                      <a:pt x="893" y="301"/>
                      <a:pt x="896" y="297"/>
                    </a:cubicBezTo>
                    <a:cubicBezTo>
                      <a:pt x="898" y="293"/>
                      <a:pt x="902" y="290"/>
                      <a:pt x="907" y="287"/>
                    </a:cubicBezTo>
                    <a:cubicBezTo>
                      <a:pt x="912" y="285"/>
                      <a:pt x="918" y="284"/>
                      <a:pt x="925" y="284"/>
                    </a:cubicBezTo>
                    <a:cubicBezTo>
                      <a:pt x="936" y="284"/>
                      <a:pt x="945" y="287"/>
                      <a:pt x="951" y="292"/>
                    </a:cubicBezTo>
                    <a:cubicBezTo>
                      <a:pt x="957" y="297"/>
                      <a:pt x="960" y="304"/>
                      <a:pt x="960" y="312"/>
                    </a:cubicBezTo>
                    <a:cubicBezTo>
                      <a:pt x="942" y="313"/>
                      <a:pt x="942" y="313"/>
                      <a:pt x="942" y="313"/>
                    </a:cubicBezTo>
                    <a:cubicBezTo>
                      <a:pt x="941" y="308"/>
                      <a:pt x="939" y="305"/>
                      <a:pt x="936" y="303"/>
                    </a:cubicBezTo>
                    <a:cubicBezTo>
                      <a:pt x="934" y="301"/>
                      <a:pt x="930" y="299"/>
                      <a:pt x="925" y="299"/>
                    </a:cubicBezTo>
                    <a:cubicBezTo>
                      <a:pt x="919" y="299"/>
                      <a:pt x="915" y="301"/>
                      <a:pt x="912" y="303"/>
                    </a:cubicBezTo>
                    <a:cubicBezTo>
                      <a:pt x="910" y="304"/>
                      <a:pt x="909" y="306"/>
                      <a:pt x="909" y="308"/>
                    </a:cubicBezTo>
                    <a:cubicBezTo>
                      <a:pt x="909" y="311"/>
                      <a:pt x="910" y="312"/>
                      <a:pt x="912" y="314"/>
                    </a:cubicBezTo>
                    <a:cubicBezTo>
                      <a:pt x="914" y="316"/>
                      <a:pt x="920" y="318"/>
                      <a:pt x="929" y="320"/>
                    </a:cubicBezTo>
                    <a:cubicBezTo>
                      <a:pt x="938" y="322"/>
                      <a:pt x="945" y="324"/>
                      <a:pt x="949" y="327"/>
                    </a:cubicBezTo>
                    <a:cubicBezTo>
                      <a:pt x="953" y="329"/>
                      <a:pt x="957" y="332"/>
                      <a:pt x="959" y="336"/>
                    </a:cubicBezTo>
                    <a:cubicBezTo>
                      <a:pt x="961" y="340"/>
                      <a:pt x="963" y="345"/>
                      <a:pt x="963" y="351"/>
                    </a:cubicBezTo>
                    <a:cubicBezTo>
                      <a:pt x="963" y="356"/>
                      <a:pt x="961" y="361"/>
                      <a:pt x="958" y="365"/>
                    </a:cubicBezTo>
                    <a:cubicBezTo>
                      <a:pt x="955" y="370"/>
                      <a:pt x="951" y="373"/>
                      <a:pt x="946" y="375"/>
                    </a:cubicBezTo>
                    <a:cubicBezTo>
                      <a:pt x="941" y="378"/>
                      <a:pt x="934" y="379"/>
                      <a:pt x="926" y="379"/>
                    </a:cubicBezTo>
                    <a:cubicBezTo>
                      <a:pt x="914" y="379"/>
                      <a:pt x="906" y="376"/>
                      <a:pt x="899" y="371"/>
                    </a:cubicBezTo>
                    <a:cubicBezTo>
                      <a:pt x="893" y="365"/>
                      <a:pt x="889" y="358"/>
                      <a:pt x="888" y="347"/>
                    </a:cubicBezTo>
                    <a:close/>
                    <a:moveTo>
                      <a:pt x="985" y="286"/>
                    </a:moveTo>
                    <a:cubicBezTo>
                      <a:pt x="1003" y="286"/>
                      <a:pt x="1003" y="286"/>
                      <a:pt x="1003" y="286"/>
                    </a:cubicBezTo>
                    <a:cubicBezTo>
                      <a:pt x="1003" y="335"/>
                      <a:pt x="1003" y="335"/>
                      <a:pt x="1003" y="335"/>
                    </a:cubicBezTo>
                    <a:cubicBezTo>
                      <a:pt x="1003" y="343"/>
                      <a:pt x="1004" y="348"/>
                      <a:pt x="1004" y="351"/>
                    </a:cubicBezTo>
                    <a:cubicBezTo>
                      <a:pt x="1005" y="354"/>
                      <a:pt x="1007" y="357"/>
                      <a:pt x="1010" y="360"/>
                    </a:cubicBezTo>
                    <a:cubicBezTo>
                      <a:pt x="1013" y="362"/>
                      <a:pt x="1017" y="363"/>
                      <a:pt x="1022" y="363"/>
                    </a:cubicBezTo>
                    <a:cubicBezTo>
                      <a:pt x="1027" y="363"/>
                      <a:pt x="1031" y="362"/>
                      <a:pt x="1034" y="360"/>
                    </a:cubicBezTo>
                    <a:cubicBezTo>
                      <a:pt x="1037" y="358"/>
                      <a:pt x="1038" y="355"/>
                      <a:pt x="1039" y="352"/>
                    </a:cubicBezTo>
                    <a:cubicBezTo>
                      <a:pt x="1039" y="349"/>
                      <a:pt x="1039" y="344"/>
                      <a:pt x="1039" y="336"/>
                    </a:cubicBezTo>
                    <a:cubicBezTo>
                      <a:pt x="1039" y="286"/>
                      <a:pt x="1039" y="286"/>
                      <a:pt x="1039" y="286"/>
                    </a:cubicBezTo>
                    <a:cubicBezTo>
                      <a:pt x="1058" y="286"/>
                      <a:pt x="1058" y="286"/>
                      <a:pt x="1058" y="286"/>
                    </a:cubicBezTo>
                    <a:cubicBezTo>
                      <a:pt x="1058" y="334"/>
                      <a:pt x="1058" y="334"/>
                      <a:pt x="1058" y="334"/>
                    </a:cubicBezTo>
                    <a:cubicBezTo>
                      <a:pt x="1058" y="345"/>
                      <a:pt x="1057" y="353"/>
                      <a:pt x="1056" y="357"/>
                    </a:cubicBezTo>
                    <a:cubicBezTo>
                      <a:pt x="1055" y="362"/>
                      <a:pt x="1054" y="365"/>
                      <a:pt x="1051" y="369"/>
                    </a:cubicBezTo>
                    <a:cubicBezTo>
                      <a:pt x="1048" y="372"/>
                      <a:pt x="1045" y="374"/>
                      <a:pt x="1040" y="376"/>
                    </a:cubicBezTo>
                    <a:cubicBezTo>
                      <a:pt x="1036" y="378"/>
                      <a:pt x="1030" y="379"/>
                      <a:pt x="1023" y="379"/>
                    </a:cubicBezTo>
                    <a:cubicBezTo>
                      <a:pt x="1014" y="379"/>
                      <a:pt x="1007" y="378"/>
                      <a:pt x="1003" y="376"/>
                    </a:cubicBezTo>
                    <a:cubicBezTo>
                      <a:pt x="998" y="374"/>
                      <a:pt x="995" y="371"/>
                      <a:pt x="992" y="368"/>
                    </a:cubicBezTo>
                    <a:cubicBezTo>
                      <a:pt x="989" y="365"/>
                      <a:pt x="988" y="361"/>
                      <a:pt x="987" y="358"/>
                    </a:cubicBezTo>
                    <a:cubicBezTo>
                      <a:pt x="986" y="352"/>
                      <a:pt x="985" y="345"/>
                      <a:pt x="985" y="335"/>
                    </a:cubicBezTo>
                    <a:lnTo>
                      <a:pt x="985" y="286"/>
                    </a:lnTo>
                    <a:close/>
                    <a:moveTo>
                      <a:pt x="1084" y="377"/>
                    </a:moveTo>
                    <a:cubicBezTo>
                      <a:pt x="1084" y="286"/>
                      <a:pt x="1084" y="286"/>
                      <a:pt x="1084" y="286"/>
                    </a:cubicBezTo>
                    <a:cubicBezTo>
                      <a:pt x="1102" y="286"/>
                      <a:pt x="1102" y="286"/>
                      <a:pt x="1102" y="286"/>
                    </a:cubicBezTo>
                    <a:cubicBezTo>
                      <a:pt x="1102" y="377"/>
                      <a:pt x="1102" y="377"/>
                      <a:pt x="1102" y="377"/>
                    </a:cubicBezTo>
                    <a:lnTo>
                      <a:pt x="1084" y="377"/>
                    </a:lnTo>
                    <a:close/>
                    <a:moveTo>
                      <a:pt x="1147" y="377"/>
                    </a:moveTo>
                    <a:cubicBezTo>
                      <a:pt x="1147" y="301"/>
                      <a:pt x="1147" y="301"/>
                      <a:pt x="1147" y="301"/>
                    </a:cubicBezTo>
                    <a:cubicBezTo>
                      <a:pt x="1120" y="301"/>
                      <a:pt x="1120" y="301"/>
                      <a:pt x="1120" y="301"/>
                    </a:cubicBezTo>
                    <a:cubicBezTo>
                      <a:pt x="1120" y="286"/>
                      <a:pt x="1120" y="286"/>
                      <a:pt x="1120" y="286"/>
                    </a:cubicBezTo>
                    <a:cubicBezTo>
                      <a:pt x="1193" y="286"/>
                      <a:pt x="1193" y="286"/>
                      <a:pt x="1193" y="286"/>
                    </a:cubicBezTo>
                    <a:cubicBezTo>
                      <a:pt x="1193" y="301"/>
                      <a:pt x="1193" y="301"/>
                      <a:pt x="1193" y="301"/>
                    </a:cubicBezTo>
                    <a:cubicBezTo>
                      <a:pt x="1166" y="301"/>
                      <a:pt x="1166" y="301"/>
                      <a:pt x="1166" y="301"/>
                    </a:cubicBezTo>
                    <a:cubicBezTo>
                      <a:pt x="1166" y="377"/>
                      <a:pt x="1166" y="377"/>
                      <a:pt x="1166" y="377"/>
                    </a:cubicBezTo>
                    <a:lnTo>
                      <a:pt x="1147" y="377"/>
                    </a:lnTo>
                    <a:close/>
                    <a:moveTo>
                      <a:pt x="1212" y="377"/>
                    </a:moveTo>
                    <a:cubicBezTo>
                      <a:pt x="1212" y="286"/>
                      <a:pt x="1212" y="286"/>
                      <a:pt x="1212" y="286"/>
                    </a:cubicBezTo>
                    <a:cubicBezTo>
                      <a:pt x="1280" y="286"/>
                      <a:pt x="1280" y="286"/>
                      <a:pt x="1280" y="286"/>
                    </a:cubicBezTo>
                    <a:cubicBezTo>
                      <a:pt x="1280" y="301"/>
                      <a:pt x="1280" y="301"/>
                      <a:pt x="1280" y="301"/>
                    </a:cubicBezTo>
                    <a:cubicBezTo>
                      <a:pt x="1230" y="301"/>
                      <a:pt x="1230" y="301"/>
                      <a:pt x="1230" y="301"/>
                    </a:cubicBezTo>
                    <a:cubicBezTo>
                      <a:pt x="1230" y="321"/>
                      <a:pt x="1230" y="321"/>
                      <a:pt x="1230" y="321"/>
                    </a:cubicBezTo>
                    <a:cubicBezTo>
                      <a:pt x="1276" y="321"/>
                      <a:pt x="1276" y="321"/>
                      <a:pt x="1276" y="321"/>
                    </a:cubicBezTo>
                    <a:cubicBezTo>
                      <a:pt x="1276" y="337"/>
                      <a:pt x="1276" y="337"/>
                      <a:pt x="1276" y="337"/>
                    </a:cubicBezTo>
                    <a:cubicBezTo>
                      <a:pt x="1230" y="337"/>
                      <a:pt x="1230" y="337"/>
                      <a:pt x="1230" y="337"/>
                    </a:cubicBezTo>
                    <a:cubicBezTo>
                      <a:pt x="1230" y="362"/>
                      <a:pt x="1230" y="362"/>
                      <a:pt x="1230" y="362"/>
                    </a:cubicBezTo>
                    <a:cubicBezTo>
                      <a:pt x="1281" y="362"/>
                      <a:pt x="1281" y="362"/>
                      <a:pt x="1281" y="362"/>
                    </a:cubicBezTo>
                    <a:cubicBezTo>
                      <a:pt x="1281" y="377"/>
                      <a:pt x="1281" y="377"/>
                      <a:pt x="1281" y="377"/>
                    </a:cubicBezTo>
                    <a:lnTo>
                      <a:pt x="1212" y="377"/>
                    </a:lnTo>
                    <a:close/>
                    <a:moveTo>
                      <a:pt x="1280" y="206"/>
                    </a:moveTo>
                    <a:cubicBezTo>
                      <a:pt x="0" y="206"/>
                      <a:pt x="0" y="206"/>
                      <a:pt x="0" y="206"/>
                    </a:cubicBezTo>
                    <a:cubicBezTo>
                      <a:pt x="0" y="218"/>
                      <a:pt x="0" y="218"/>
                      <a:pt x="0" y="218"/>
                    </a:cubicBezTo>
                    <a:cubicBezTo>
                      <a:pt x="1280" y="218"/>
                      <a:pt x="1280" y="218"/>
                      <a:pt x="1280" y="218"/>
                    </a:cubicBezTo>
                    <a:lnTo>
                      <a:pt x="1280" y="206"/>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94" name="Group 193"/>
            <p:cNvGrpSpPr/>
            <p:nvPr/>
          </p:nvGrpSpPr>
          <p:grpSpPr>
            <a:xfrm>
              <a:off x="1669271" y="3064089"/>
              <a:ext cx="745425" cy="745425"/>
              <a:chOff x="1486650" y="3524013"/>
              <a:chExt cx="745531" cy="745531"/>
            </a:xfrm>
          </p:grpSpPr>
          <p:sp>
            <p:nvSpPr>
              <p:cNvPr id="195" name="Oval 194"/>
              <p:cNvSpPr/>
              <p:nvPr/>
            </p:nvSpPr>
            <p:spPr bwMode="auto">
              <a:xfrm>
                <a:off x="1486650" y="3524013"/>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Freeform 5"/>
              <p:cNvSpPr>
                <a:spLocks noChangeAspect="1" noEditPoints="1"/>
              </p:cNvSpPr>
              <p:nvPr/>
            </p:nvSpPr>
            <p:spPr bwMode="black">
              <a:xfrm>
                <a:off x="1670542" y="3788884"/>
                <a:ext cx="434896" cy="215788"/>
              </a:xfrm>
              <a:custGeom>
                <a:avLst/>
                <a:gdLst>
                  <a:gd name="T0" fmla="*/ 0 w 1328"/>
                  <a:gd name="T1" fmla="*/ 0 h 657"/>
                  <a:gd name="T2" fmla="*/ 671 w 1328"/>
                  <a:gd name="T3" fmla="*/ 657 h 657"/>
                  <a:gd name="T4" fmla="*/ 788 w 1328"/>
                  <a:gd name="T5" fmla="*/ 123 h 657"/>
                  <a:gd name="T6" fmla="*/ 658 w 1328"/>
                  <a:gd name="T7" fmla="*/ 434 h 657"/>
                  <a:gd name="T8" fmla="*/ 430 w 1328"/>
                  <a:gd name="T9" fmla="*/ 123 h 657"/>
                  <a:gd name="T10" fmla="*/ 201 w 1328"/>
                  <a:gd name="T11" fmla="*/ 278 h 657"/>
                  <a:gd name="T12" fmla="*/ 189 w 1328"/>
                  <a:gd name="T13" fmla="*/ 205 h 657"/>
                  <a:gd name="T14" fmla="*/ 330 w 1328"/>
                  <a:gd name="T15" fmla="*/ 151 h 657"/>
                  <a:gd name="T16" fmla="*/ 181 w 1328"/>
                  <a:gd name="T17" fmla="*/ 116 h 657"/>
                  <a:gd name="T18" fmla="*/ 19 w 1328"/>
                  <a:gd name="T19" fmla="*/ 240 h 657"/>
                  <a:gd name="T20" fmla="*/ 153 w 1328"/>
                  <a:gd name="T21" fmla="*/ 372 h 657"/>
                  <a:gd name="T22" fmla="*/ 210 w 1328"/>
                  <a:gd name="T23" fmla="*/ 434 h 657"/>
                  <a:gd name="T24" fmla="*/ 60 w 1328"/>
                  <a:gd name="T25" fmla="*/ 417 h 657"/>
                  <a:gd name="T26" fmla="*/ 167 w 1328"/>
                  <a:gd name="T27" fmla="*/ 536 h 657"/>
                  <a:gd name="T28" fmla="*/ 286 w 1328"/>
                  <a:gd name="T29" fmla="*/ 498 h 657"/>
                  <a:gd name="T30" fmla="*/ 278 w 1328"/>
                  <a:gd name="T31" fmla="*/ 529 h 657"/>
                  <a:gd name="T32" fmla="*/ 417 w 1328"/>
                  <a:gd name="T33" fmla="*/ 469 h 657"/>
                  <a:gd name="T34" fmla="*/ 554 w 1328"/>
                  <a:gd name="T35" fmla="*/ 469 h 657"/>
                  <a:gd name="T36" fmla="*/ 767 w 1328"/>
                  <a:gd name="T37" fmla="*/ 529 h 657"/>
                  <a:gd name="T38" fmla="*/ 809 w 1328"/>
                  <a:gd name="T39" fmla="*/ 404 h 657"/>
                  <a:gd name="T40" fmla="*/ 788 w 1328"/>
                  <a:gd name="T41" fmla="*/ 123 h 657"/>
                  <a:gd name="T42" fmla="*/ 445 w 1328"/>
                  <a:gd name="T43" fmla="*/ 382 h 657"/>
                  <a:gd name="T44" fmla="*/ 487 w 1328"/>
                  <a:gd name="T45" fmla="*/ 251 h 657"/>
                  <a:gd name="T46" fmla="*/ 486 w 1328"/>
                  <a:gd name="T47" fmla="*/ 389 h 657"/>
                  <a:gd name="T48" fmla="*/ 767 w 1328"/>
                  <a:gd name="T49" fmla="*/ 314 h 657"/>
                  <a:gd name="T50" fmla="*/ 796 w 1328"/>
                  <a:gd name="T51" fmla="*/ 209 h 657"/>
                  <a:gd name="T52" fmla="*/ 796 w 1328"/>
                  <a:gd name="T53" fmla="*/ 314 h 657"/>
                  <a:gd name="T54" fmla="*/ 868 w 1328"/>
                  <a:gd name="T55" fmla="*/ 578 h 657"/>
                  <a:gd name="T56" fmla="*/ 868 w 1328"/>
                  <a:gd name="T57" fmla="*/ 649 h 657"/>
                  <a:gd name="T58" fmla="*/ 868 w 1328"/>
                  <a:gd name="T59" fmla="*/ 657 h 657"/>
                  <a:gd name="T60" fmla="*/ 868 w 1328"/>
                  <a:gd name="T61" fmla="*/ 571 h 657"/>
                  <a:gd name="T62" fmla="*/ 868 w 1328"/>
                  <a:gd name="T63" fmla="*/ 657 h 657"/>
                  <a:gd name="T64" fmla="*/ 867 w 1328"/>
                  <a:gd name="T65" fmla="*/ 617 h 657"/>
                  <a:gd name="T66" fmla="*/ 889 w 1328"/>
                  <a:gd name="T67" fmla="*/ 638 h 657"/>
                  <a:gd name="T68" fmla="*/ 887 w 1328"/>
                  <a:gd name="T69" fmla="*/ 603 h 657"/>
                  <a:gd name="T70" fmla="*/ 851 w 1328"/>
                  <a:gd name="T71" fmla="*/ 589 h 657"/>
                  <a:gd name="T72" fmla="*/ 859 w 1328"/>
                  <a:gd name="T73" fmla="*/ 638 h 657"/>
                  <a:gd name="T74" fmla="*/ 859 w 1328"/>
                  <a:gd name="T75" fmla="*/ 611 h 657"/>
                  <a:gd name="T76" fmla="*/ 869 w 1328"/>
                  <a:gd name="T77" fmla="*/ 596 h 657"/>
                  <a:gd name="T78" fmla="*/ 868 w 1328"/>
                  <a:gd name="T79" fmla="*/ 61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8" h="657">
                    <a:moveTo>
                      <a:pt x="0" y="657"/>
                    </a:moveTo>
                    <a:cubicBezTo>
                      <a:pt x="0" y="0"/>
                      <a:pt x="0" y="0"/>
                      <a:pt x="0" y="0"/>
                    </a:cubicBezTo>
                    <a:cubicBezTo>
                      <a:pt x="1328" y="0"/>
                      <a:pt x="1328" y="0"/>
                      <a:pt x="1328" y="0"/>
                    </a:cubicBezTo>
                    <a:cubicBezTo>
                      <a:pt x="671" y="657"/>
                      <a:pt x="671" y="657"/>
                      <a:pt x="671" y="657"/>
                    </a:cubicBezTo>
                    <a:cubicBezTo>
                      <a:pt x="0" y="657"/>
                      <a:pt x="0" y="657"/>
                      <a:pt x="0" y="657"/>
                    </a:cubicBezTo>
                    <a:moveTo>
                      <a:pt x="788" y="123"/>
                    </a:moveTo>
                    <a:cubicBezTo>
                      <a:pt x="658" y="123"/>
                      <a:pt x="658" y="123"/>
                      <a:pt x="658" y="123"/>
                    </a:cubicBezTo>
                    <a:cubicBezTo>
                      <a:pt x="658" y="434"/>
                      <a:pt x="658" y="434"/>
                      <a:pt x="658" y="434"/>
                    </a:cubicBezTo>
                    <a:cubicBezTo>
                      <a:pt x="544" y="123"/>
                      <a:pt x="544" y="123"/>
                      <a:pt x="544" y="123"/>
                    </a:cubicBezTo>
                    <a:cubicBezTo>
                      <a:pt x="430" y="123"/>
                      <a:pt x="430" y="123"/>
                      <a:pt x="430" y="123"/>
                    </a:cubicBezTo>
                    <a:cubicBezTo>
                      <a:pt x="333" y="383"/>
                      <a:pt x="333" y="383"/>
                      <a:pt x="333" y="383"/>
                    </a:cubicBezTo>
                    <a:cubicBezTo>
                      <a:pt x="323" y="318"/>
                      <a:pt x="255" y="295"/>
                      <a:pt x="201" y="278"/>
                    </a:cubicBezTo>
                    <a:cubicBezTo>
                      <a:pt x="166" y="267"/>
                      <a:pt x="129" y="250"/>
                      <a:pt x="129" y="232"/>
                    </a:cubicBezTo>
                    <a:cubicBezTo>
                      <a:pt x="130" y="217"/>
                      <a:pt x="149" y="203"/>
                      <a:pt x="189" y="205"/>
                    </a:cubicBezTo>
                    <a:cubicBezTo>
                      <a:pt x="215" y="206"/>
                      <a:pt x="238" y="208"/>
                      <a:pt x="284" y="231"/>
                    </a:cubicBezTo>
                    <a:cubicBezTo>
                      <a:pt x="330" y="151"/>
                      <a:pt x="330" y="151"/>
                      <a:pt x="330" y="151"/>
                    </a:cubicBezTo>
                    <a:cubicBezTo>
                      <a:pt x="287" y="130"/>
                      <a:pt x="229" y="117"/>
                      <a:pt x="182" y="116"/>
                    </a:cubicBezTo>
                    <a:cubicBezTo>
                      <a:pt x="181" y="116"/>
                      <a:pt x="181" y="116"/>
                      <a:pt x="181" y="116"/>
                    </a:cubicBezTo>
                    <a:cubicBezTo>
                      <a:pt x="126" y="116"/>
                      <a:pt x="79" y="134"/>
                      <a:pt x="51" y="164"/>
                    </a:cubicBezTo>
                    <a:cubicBezTo>
                      <a:pt x="31" y="185"/>
                      <a:pt x="20" y="211"/>
                      <a:pt x="19" y="240"/>
                    </a:cubicBezTo>
                    <a:cubicBezTo>
                      <a:pt x="19" y="280"/>
                      <a:pt x="33" y="309"/>
                      <a:pt x="64" y="332"/>
                    </a:cubicBezTo>
                    <a:cubicBezTo>
                      <a:pt x="90" y="351"/>
                      <a:pt x="124" y="363"/>
                      <a:pt x="153" y="372"/>
                    </a:cubicBezTo>
                    <a:cubicBezTo>
                      <a:pt x="189" y="383"/>
                      <a:pt x="219" y="393"/>
                      <a:pt x="218" y="414"/>
                    </a:cubicBezTo>
                    <a:cubicBezTo>
                      <a:pt x="218" y="422"/>
                      <a:pt x="215" y="429"/>
                      <a:pt x="210" y="434"/>
                    </a:cubicBezTo>
                    <a:cubicBezTo>
                      <a:pt x="201" y="444"/>
                      <a:pt x="187" y="447"/>
                      <a:pt x="168" y="448"/>
                    </a:cubicBezTo>
                    <a:cubicBezTo>
                      <a:pt x="131" y="448"/>
                      <a:pt x="103" y="443"/>
                      <a:pt x="60" y="417"/>
                    </a:cubicBezTo>
                    <a:cubicBezTo>
                      <a:pt x="19" y="497"/>
                      <a:pt x="19" y="497"/>
                      <a:pt x="19" y="497"/>
                    </a:cubicBezTo>
                    <a:cubicBezTo>
                      <a:pt x="63" y="522"/>
                      <a:pt x="115" y="536"/>
                      <a:pt x="167" y="536"/>
                    </a:cubicBezTo>
                    <a:cubicBezTo>
                      <a:pt x="174" y="536"/>
                      <a:pt x="174" y="536"/>
                      <a:pt x="174" y="536"/>
                    </a:cubicBezTo>
                    <a:cubicBezTo>
                      <a:pt x="220" y="535"/>
                      <a:pt x="257" y="522"/>
                      <a:pt x="286" y="498"/>
                    </a:cubicBezTo>
                    <a:cubicBezTo>
                      <a:pt x="288" y="497"/>
                      <a:pt x="290" y="496"/>
                      <a:pt x="291" y="494"/>
                    </a:cubicBezTo>
                    <a:cubicBezTo>
                      <a:pt x="278" y="529"/>
                      <a:pt x="278" y="529"/>
                      <a:pt x="278" y="529"/>
                    </a:cubicBezTo>
                    <a:cubicBezTo>
                      <a:pt x="397" y="529"/>
                      <a:pt x="397" y="529"/>
                      <a:pt x="397" y="529"/>
                    </a:cubicBezTo>
                    <a:cubicBezTo>
                      <a:pt x="417" y="469"/>
                      <a:pt x="417" y="469"/>
                      <a:pt x="417" y="469"/>
                    </a:cubicBezTo>
                    <a:cubicBezTo>
                      <a:pt x="438" y="476"/>
                      <a:pt x="461" y="480"/>
                      <a:pt x="486" y="480"/>
                    </a:cubicBezTo>
                    <a:cubicBezTo>
                      <a:pt x="511" y="480"/>
                      <a:pt x="534" y="476"/>
                      <a:pt x="554" y="469"/>
                    </a:cubicBezTo>
                    <a:cubicBezTo>
                      <a:pt x="574" y="529"/>
                      <a:pt x="574" y="529"/>
                      <a:pt x="574" y="529"/>
                    </a:cubicBezTo>
                    <a:cubicBezTo>
                      <a:pt x="767" y="529"/>
                      <a:pt x="767" y="529"/>
                      <a:pt x="767" y="529"/>
                    </a:cubicBezTo>
                    <a:cubicBezTo>
                      <a:pt x="767" y="404"/>
                      <a:pt x="767" y="404"/>
                      <a:pt x="767" y="404"/>
                    </a:cubicBezTo>
                    <a:cubicBezTo>
                      <a:pt x="809" y="404"/>
                      <a:pt x="809" y="404"/>
                      <a:pt x="809" y="404"/>
                    </a:cubicBezTo>
                    <a:cubicBezTo>
                      <a:pt x="911" y="404"/>
                      <a:pt x="972" y="352"/>
                      <a:pt x="972" y="265"/>
                    </a:cubicBezTo>
                    <a:cubicBezTo>
                      <a:pt x="972" y="168"/>
                      <a:pt x="913" y="123"/>
                      <a:pt x="788" y="123"/>
                    </a:cubicBezTo>
                    <a:moveTo>
                      <a:pt x="486" y="389"/>
                    </a:moveTo>
                    <a:cubicBezTo>
                      <a:pt x="471" y="389"/>
                      <a:pt x="457" y="387"/>
                      <a:pt x="445" y="382"/>
                    </a:cubicBezTo>
                    <a:cubicBezTo>
                      <a:pt x="486" y="251"/>
                      <a:pt x="486" y="251"/>
                      <a:pt x="486" y="251"/>
                    </a:cubicBezTo>
                    <a:cubicBezTo>
                      <a:pt x="487" y="251"/>
                      <a:pt x="487" y="251"/>
                      <a:pt x="487" y="251"/>
                    </a:cubicBezTo>
                    <a:cubicBezTo>
                      <a:pt x="527" y="382"/>
                      <a:pt x="527" y="382"/>
                      <a:pt x="527" y="382"/>
                    </a:cubicBezTo>
                    <a:cubicBezTo>
                      <a:pt x="515" y="387"/>
                      <a:pt x="501" y="389"/>
                      <a:pt x="486" y="389"/>
                    </a:cubicBezTo>
                    <a:close/>
                    <a:moveTo>
                      <a:pt x="796" y="314"/>
                    </a:moveTo>
                    <a:cubicBezTo>
                      <a:pt x="767" y="314"/>
                      <a:pt x="767" y="314"/>
                      <a:pt x="767" y="314"/>
                    </a:cubicBezTo>
                    <a:cubicBezTo>
                      <a:pt x="767" y="209"/>
                      <a:pt x="767" y="209"/>
                      <a:pt x="767" y="209"/>
                    </a:cubicBezTo>
                    <a:cubicBezTo>
                      <a:pt x="796" y="209"/>
                      <a:pt x="796" y="209"/>
                      <a:pt x="796" y="209"/>
                    </a:cubicBezTo>
                    <a:cubicBezTo>
                      <a:pt x="834" y="209"/>
                      <a:pt x="865" y="222"/>
                      <a:pt x="865" y="261"/>
                    </a:cubicBezTo>
                    <a:cubicBezTo>
                      <a:pt x="865" y="301"/>
                      <a:pt x="834" y="314"/>
                      <a:pt x="796" y="314"/>
                    </a:cubicBezTo>
                    <a:moveTo>
                      <a:pt x="833" y="614"/>
                    </a:moveTo>
                    <a:cubicBezTo>
                      <a:pt x="833" y="594"/>
                      <a:pt x="848" y="578"/>
                      <a:pt x="868" y="578"/>
                    </a:cubicBezTo>
                    <a:cubicBezTo>
                      <a:pt x="887" y="578"/>
                      <a:pt x="902" y="594"/>
                      <a:pt x="902" y="614"/>
                    </a:cubicBezTo>
                    <a:cubicBezTo>
                      <a:pt x="902" y="634"/>
                      <a:pt x="887" y="649"/>
                      <a:pt x="868" y="649"/>
                    </a:cubicBezTo>
                    <a:cubicBezTo>
                      <a:pt x="848" y="649"/>
                      <a:pt x="833" y="634"/>
                      <a:pt x="833" y="614"/>
                    </a:cubicBezTo>
                    <a:moveTo>
                      <a:pt x="868" y="657"/>
                    </a:moveTo>
                    <a:cubicBezTo>
                      <a:pt x="891" y="657"/>
                      <a:pt x="911" y="638"/>
                      <a:pt x="911" y="614"/>
                    </a:cubicBezTo>
                    <a:cubicBezTo>
                      <a:pt x="911" y="589"/>
                      <a:pt x="891" y="571"/>
                      <a:pt x="868" y="571"/>
                    </a:cubicBezTo>
                    <a:cubicBezTo>
                      <a:pt x="844" y="571"/>
                      <a:pt x="825" y="589"/>
                      <a:pt x="825" y="614"/>
                    </a:cubicBezTo>
                    <a:cubicBezTo>
                      <a:pt x="825" y="638"/>
                      <a:pt x="844" y="657"/>
                      <a:pt x="868" y="657"/>
                    </a:cubicBezTo>
                    <a:close/>
                    <a:moveTo>
                      <a:pt x="859" y="617"/>
                    </a:moveTo>
                    <a:cubicBezTo>
                      <a:pt x="867" y="617"/>
                      <a:pt x="867" y="617"/>
                      <a:pt x="867" y="617"/>
                    </a:cubicBezTo>
                    <a:cubicBezTo>
                      <a:pt x="880" y="638"/>
                      <a:pt x="880" y="638"/>
                      <a:pt x="880" y="638"/>
                    </a:cubicBezTo>
                    <a:cubicBezTo>
                      <a:pt x="889" y="638"/>
                      <a:pt x="889" y="638"/>
                      <a:pt x="889" y="638"/>
                    </a:cubicBezTo>
                    <a:cubicBezTo>
                      <a:pt x="875" y="617"/>
                      <a:pt x="875" y="617"/>
                      <a:pt x="875" y="617"/>
                    </a:cubicBezTo>
                    <a:cubicBezTo>
                      <a:pt x="882" y="616"/>
                      <a:pt x="887" y="612"/>
                      <a:pt x="887" y="603"/>
                    </a:cubicBezTo>
                    <a:cubicBezTo>
                      <a:pt x="887" y="594"/>
                      <a:pt x="882" y="589"/>
                      <a:pt x="870" y="589"/>
                    </a:cubicBezTo>
                    <a:cubicBezTo>
                      <a:pt x="851" y="589"/>
                      <a:pt x="851" y="589"/>
                      <a:pt x="851" y="589"/>
                    </a:cubicBezTo>
                    <a:cubicBezTo>
                      <a:pt x="851" y="638"/>
                      <a:pt x="851" y="638"/>
                      <a:pt x="851" y="638"/>
                    </a:cubicBezTo>
                    <a:cubicBezTo>
                      <a:pt x="859" y="638"/>
                      <a:pt x="859" y="638"/>
                      <a:pt x="859" y="638"/>
                    </a:cubicBezTo>
                    <a:lnTo>
                      <a:pt x="859" y="617"/>
                    </a:lnTo>
                    <a:close/>
                    <a:moveTo>
                      <a:pt x="859" y="611"/>
                    </a:moveTo>
                    <a:cubicBezTo>
                      <a:pt x="859" y="596"/>
                      <a:pt x="859" y="596"/>
                      <a:pt x="859" y="596"/>
                    </a:cubicBezTo>
                    <a:cubicBezTo>
                      <a:pt x="869" y="596"/>
                      <a:pt x="869" y="596"/>
                      <a:pt x="869" y="596"/>
                    </a:cubicBezTo>
                    <a:cubicBezTo>
                      <a:pt x="874" y="596"/>
                      <a:pt x="879" y="597"/>
                      <a:pt x="879" y="603"/>
                    </a:cubicBezTo>
                    <a:cubicBezTo>
                      <a:pt x="879" y="610"/>
                      <a:pt x="874" y="611"/>
                      <a:pt x="868" y="611"/>
                    </a:cubicBezTo>
                    <a:lnTo>
                      <a:pt x="859" y="611"/>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2" name="Group 1"/>
            <p:cNvGrpSpPr/>
            <p:nvPr/>
          </p:nvGrpSpPr>
          <p:grpSpPr>
            <a:xfrm>
              <a:off x="2906363" y="3059927"/>
              <a:ext cx="745425" cy="745425"/>
              <a:chOff x="2358247" y="2642988"/>
              <a:chExt cx="745425" cy="745425"/>
            </a:xfrm>
          </p:grpSpPr>
          <p:sp>
            <p:nvSpPr>
              <p:cNvPr id="192" name="Oval 191"/>
              <p:cNvSpPr/>
              <p:nvPr/>
            </p:nvSpPr>
            <p:spPr bwMode="auto">
              <a:xfrm>
                <a:off x="2358247" y="264298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Freeform 23"/>
              <p:cNvSpPr>
                <a:spLocks noChangeAspect="1" noEditPoints="1"/>
              </p:cNvSpPr>
              <p:nvPr/>
            </p:nvSpPr>
            <p:spPr bwMode="auto">
              <a:xfrm>
                <a:off x="2603339" y="2840574"/>
                <a:ext cx="324670" cy="328998"/>
              </a:xfrm>
              <a:custGeom>
                <a:avLst/>
                <a:gdLst>
                  <a:gd name="T0" fmla="*/ 74 w 95"/>
                  <a:gd name="T1" fmla="*/ 70 h 96"/>
                  <a:gd name="T2" fmla="*/ 60 w 95"/>
                  <a:gd name="T3" fmla="*/ 78 h 96"/>
                  <a:gd name="T4" fmla="*/ 60 w 95"/>
                  <a:gd name="T5" fmla="*/ 71 h 96"/>
                  <a:gd name="T6" fmla="*/ 60 w 95"/>
                  <a:gd name="T7" fmla="*/ 67 h 96"/>
                  <a:gd name="T8" fmla="*/ 65 w 95"/>
                  <a:gd name="T9" fmla="*/ 60 h 96"/>
                  <a:gd name="T10" fmla="*/ 83 w 95"/>
                  <a:gd name="T11" fmla="*/ 55 h 96"/>
                  <a:gd name="T12" fmla="*/ 81 w 95"/>
                  <a:gd name="T13" fmla="*/ 37 h 96"/>
                  <a:gd name="T14" fmla="*/ 65 w 95"/>
                  <a:gd name="T15" fmla="*/ 35 h 96"/>
                  <a:gd name="T16" fmla="*/ 60 w 95"/>
                  <a:gd name="T17" fmla="*/ 17 h 96"/>
                  <a:gd name="T18" fmla="*/ 74 w 95"/>
                  <a:gd name="T19" fmla="*/ 25 h 96"/>
                  <a:gd name="T20" fmla="*/ 95 w 95"/>
                  <a:gd name="T21" fmla="*/ 46 h 96"/>
                  <a:gd name="T22" fmla="*/ 56 w 95"/>
                  <a:gd name="T23" fmla="*/ 0 h 96"/>
                  <a:gd name="T24" fmla="*/ 0 w 95"/>
                  <a:gd name="T25" fmla="*/ 83 h 96"/>
                  <a:gd name="T26" fmla="*/ 56 w 95"/>
                  <a:gd name="T27" fmla="*/ 0 h 96"/>
                  <a:gd name="T28" fmla="*/ 36 w 95"/>
                  <a:gd name="T29" fmla="*/ 54 h 96"/>
                  <a:gd name="T30" fmla="*/ 34 w 95"/>
                  <a:gd name="T31" fmla="*/ 51 h 96"/>
                  <a:gd name="T32" fmla="*/ 32 w 95"/>
                  <a:gd name="T33" fmla="*/ 48 h 96"/>
                  <a:gd name="T34" fmla="*/ 29 w 95"/>
                  <a:gd name="T35" fmla="*/ 46 h 96"/>
                  <a:gd name="T36" fmla="*/ 26 w 95"/>
                  <a:gd name="T37" fmla="*/ 44 h 96"/>
                  <a:gd name="T38" fmla="*/ 24 w 95"/>
                  <a:gd name="T39" fmla="*/ 42 h 96"/>
                  <a:gd name="T40" fmla="*/ 23 w 95"/>
                  <a:gd name="T41" fmla="*/ 41 h 96"/>
                  <a:gd name="T42" fmla="*/ 23 w 95"/>
                  <a:gd name="T43" fmla="*/ 39 h 96"/>
                  <a:gd name="T44" fmla="*/ 23 w 95"/>
                  <a:gd name="T45" fmla="*/ 38 h 96"/>
                  <a:gd name="T46" fmla="*/ 23 w 95"/>
                  <a:gd name="T47" fmla="*/ 36 h 96"/>
                  <a:gd name="T48" fmla="*/ 25 w 95"/>
                  <a:gd name="T49" fmla="*/ 35 h 96"/>
                  <a:gd name="T50" fmla="*/ 26 w 95"/>
                  <a:gd name="T51" fmla="*/ 35 h 96"/>
                  <a:gd name="T52" fmla="*/ 29 w 95"/>
                  <a:gd name="T53" fmla="*/ 35 h 96"/>
                  <a:gd name="T54" fmla="*/ 33 w 95"/>
                  <a:gd name="T55" fmla="*/ 36 h 96"/>
                  <a:gd name="T56" fmla="*/ 34 w 95"/>
                  <a:gd name="T57" fmla="*/ 29 h 96"/>
                  <a:gd name="T58" fmla="*/ 31 w 95"/>
                  <a:gd name="T59" fmla="*/ 28 h 96"/>
                  <a:gd name="T60" fmla="*/ 27 w 95"/>
                  <a:gd name="T61" fmla="*/ 28 h 96"/>
                  <a:gd name="T62" fmla="*/ 22 w 95"/>
                  <a:gd name="T63" fmla="*/ 29 h 96"/>
                  <a:gd name="T64" fmla="*/ 19 w 95"/>
                  <a:gd name="T65" fmla="*/ 31 h 96"/>
                  <a:gd name="T66" fmla="*/ 17 w 95"/>
                  <a:gd name="T67" fmla="*/ 35 h 96"/>
                  <a:gd name="T68" fmla="*/ 16 w 95"/>
                  <a:gd name="T69" fmla="*/ 40 h 96"/>
                  <a:gd name="T70" fmla="*/ 18 w 95"/>
                  <a:gd name="T71" fmla="*/ 46 h 96"/>
                  <a:gd name="T72" fmla="*/ 23 w 95"/>
                  <a:gd name="T73" fmla="*/ 51 h 96"/>
                  <a:gd name="T74" fmla="*/ 25 w 95"/>
                  <a:gd name="T75" fmla="*/ 52 h 96"/>
                  <a:gd name="T76" fmla="*/ 27 w 95"/>
                  <a:gd name="T77" fmla="*/ 54 h 96"/>
                  <a:gd name="T78" fmla="*/ 28 w 95"/>
                  <a:gd name="T79" fmla="*/ 55 h 96"/>
                  <a:gd name="T80" fmla="*/ 28 w 95"/>
                  <a:gd name="T81" fmla="*/ 57 h 96"/>
                  <a:gd name="T82" fmla="*/ 28 w 95"/>
                  <a:gd name="T83" fmla="*/ 58 h 96"/>
                  <a:gd name="T84" fmla="*/ 27 w 95"/>
                  <a:gd name="T85" fmla="*/ 60 h 96"/>
                  <a:gd name="T86" fmla="*/ 26 w 95"/>
                  <a:gd name="T87" fmla="*/ 61 h 96"/>
                  <a:gd name="T88" fmla="*/ 24 w 95"/>
                  <a:gd name="T89" fmla="*/ 61 h 96"/>
                  <a:gd name="T90" fmla="*/ 20 w 95"/>
                  <a:gd name="T91" fmla="*/ 60 h 96"/>
                  <a:gd name="T92" fmla="*/ 16 w 95"/>
                  <a:gd name="T93" fmla="*/ 57 h 96"/>
                  <a:gd name="T94" fmla="*/ 18 w 95"/>
                  <a:gd name="T95" fmla="*/ 66 h 96"/>
                  <a:gd name="T96" fmla="*/ 21 w 95"/>
                  <a:gd name="T97" fmla="*/ 67 h 96"/>
                  <a:gd name="T98" fmla="*/ 27 w 95"/>
                  <a:gd name="T99" fmla="*/ 68 h 96"/>
                  <a:gd name="T100" fmla="*/ 31 w 95"/>
                  <a:gd name="T101" fmla="*/ 66 h 96"/>
                  <a:gd name="T102" fmla="*/ 34 w 95"/>
                  <a:gd name="T103" fmla="*/ 63 h 96"/>
                  <a:gd name="T104" fmla="*/ 36 w 95"/>
                  <a:gd name="T105"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96">
                    <a:moveTo>
                      <a:pt x="87" y="55"/>
                    </a:moveTo>
                    <a:cubicBezTo>
                      <a:pt x="85" y="62"/>
                      <a:pt x="80" y="67"/>
                      <a:pt x="74" y="70"/>
                    </a:cubicBezTo>
                    <a:cubicBezTo>
                      <a:pt x="74" y="75"/>
                      <a:pt x="70" y="79"/>
                      <a:pt x="65" y="79"/>
                    </a:cubicBezTo>
                    <a:cubicBezTo>
                      <a:pt x="63" y="79"/>
                      <a:pt x="62" y="79"/>
                      <a:pt x="60" y="78"/>
                    </a:cubicBezTo>
                    <a:cubicBezTo>
                      <a:pt x="60" y="72"/>
                      <a:pt x="60" y="72"/>
                      <a:pt x="60" y="72"/>
                    </a:cubicBezTo>
                    <a:cubicBezTo>
                      <a:pt x="60" y="71"/>
                      <a:pt x="60" y="71"/>
                      <a:pt x="60" y="71"/>
                    </a:cubicBezTo>
                    <a:cubicBezTo>
                      <a:pt x="60" y="67"/>
                      <a:pt x="60" y="67"/>
                      <a:pt x="60" y="67"/>
                    </a:cubicBezTo>
                    <a:cubicBezTo>
                      <a:pt x="60" y="67"/>
                      <a:pt x="60" y="67"/>
                      <a:pt x="60" y="67"/>
                    </a:cubicBezTo>
                    <a:cubicBezTo>
                      <a:pt x="60" y="61"/>
                      <a:pt x="60" y="61"/>
                      <a:pt x="60" y="61"/>
                    </a:cubicBezTo>
                    <a:cubicBezTo>
                      <a:pt x="62" y="60"/>
                      <a:pt x="63" y="60"/>
                      <a:pt x="65" y="60"/>
                    </a:cubicBezTo>
                    <a:cubicBezTo>
                      <a:pt x="68" y="60"/>
                      <a:pt x="72" y="62"/>
                      <a:pt x="73" y="65"/>
                    </a:cubicBezTo>
                    <a:cubicBezTo>
                      <a:pt x="77" y="63"/>
                      <a:pt x="81" y="60"/>
                      <a:pt x="83" y="55"/>
                    </a:cubicBezTo>
                    <a:cubicBezTo>
                      <a:pt x="79" y="54"/>
                      <a:pt x="76" y="50"/>
                      <a:pt x="76" y="46"/>
                    </a:cubicBezTo>
                    <a:cubicBezTo>
                      <a:pt x="76" y="42"/>
                      <a:pt x="78" y="39"/>
                      <a:pt x="81" y="37"/>
                    </a:cubicBezTo>
                    <a:cubicBezTo>
                      <a:pt x="79" y="34"/>
                      <a:pt x="77" y="31"/>
                      <a:pt x="73" y="30"/>
                    </a:cubicBezTo>
                    <a:cubicBezTo>
                      <a:pt x="72" y="33"/>
                      <a:pt x="68" y="35"/>
                      <a:pt x="65" y="35"/>
                    </a:cubicBezTo>
                    <a:cubicBezTo>
                      <a:pt x="63" y="35"/>
                      <a:pt x="61" y="35"/>
                      <a:pt x="60" y="34"/>
                    </a:cubicBezTo>
                    <a:cubicBezTo>
                      <a:pt x="60" y="17"/>
                      <a:pt x="60" y="17"/>
                      <a:pt x="60" y="17"/>
                    </a:cubicBezTo>
                    <a:cubicBezTo>
                      <a:pt x="61" y="17"/>
                      <a:pt x="63" y="16"/>
                      <a:pt x="65" y="16"/>
                    </a:cubicBezTo>
                    <a:cubicBezTo>
                      <a:pt x="70" y="16"/>
                      <a:pt x="74" y="20"/>
                      <a:pt x="74" y="25"/>
                    </a:cubicBezTo>
                    <a:cubicBezTo>
                      <a:pt x="79" y="27"/>
                      <a:pt x="83" y="31"/>
                      <a:pt x="86" y="36"/>
                    </a:cubicBezTo>
                    <a:cubicBezTo>
                      <a:pt x="91" y="36"/>
                      <a:pt x="95" y="41"/>
                      <a:pt x="95" y="46"/>
                    </a:cubicBezTo>
                    <a:cubicBezTo>
                      <a:pt x="95" y="51"/>
                      <a:pt x="92" y="55"/>
                      <a:pt x="87" y="55"/>
                    </a:cubicBezTo>
                    <a:close/>
                    <a:moveTo>
                      <a:pt x="56" y="0"/>
                    </a:moveTo>
                    <a:cubicBezTo>
                      <a:pt x="56" y="96"/>
                      <a:pt x="56" y="96"/>
                      <a:pt x="56" y="96"/>
                    </a:cubicBezTo>
                    <a:cubicBezTo>
                      <a:pt x="0" y="83"/>
                      <a:pt x="0" y="83"/>
                      <a:pt x="0" y="83"/>
                    </a:cubicBezTo>
                    <a:cubicBezTo>
                      <a:pt x="0" y="13"/>
                      <a:pt x="0" y="13"/>
                      <a:pt x="0" y="13"/>
                    </a:cubicBezTo>
                    <a:lnTo>
                      <a:pt x="56" y="0"/>
                    </a:lnTo>
                    <a:close/>
                    <a:moveTo>
                      <a:pt x="36" y="56"/>
                    </a:moveTo>
                    <a:cubicBezTo>
                      <a:pt x="36" y="56"/>
                      <a:pt x="36" y="55"/>
                      <a:pt x="36" y="54"/>
                    </a:cubicBezTo>
                    <a:cubicBezTo>
                      <a:pt x="35" y="54"/>
                      <a:pt x="35" y="53"/>
                      <a:pt x="35" y="53"/>
                    </a:cubicBezTo>
                    <a:cubicBezTo>
                      <a:pt x="35" y="52"/>
                      <a:pt x="35" y="51"/>
                      <a:pt x="34" y="51"/>
                    </a:cubicBezTo>
                    <a:cubicBezTo>
                      <a:pt x="34" y="50"/>
                      <a:pt x="34" y="50"/>
                      <a:pt x="33" y="49"/>
                    </a:cubicBezTo>
                    <a:cubicBezTo>
                      <a:pt x="33" y="49"/>
                      <a:pt x="33" y="48"/>
                      <a:pt x="32" y="48"/>
                    </a:cubicBezTo>
                    <a:cubicBezTo>
                      <a:pt x="32" y="48"/>
                      <a:pt x="32" y="47"/>
                      <a:pt x="31" y="47"/>
                    </a:cubicBezTo>
                    <a:cubicBezTo>
                      <a:pt x="31" y="46"/>
                      <a:pt x="30" y="46"/>
                      <a:pt x="29" y="46"/>
                    </a:cubicBezTo>
                    <a:cubicBezTo>
                      <a:pt x="29" y="45"/>
                      <a:pt x="28" y="45"/>
                      <a:pt x="28" y="44"/>
                    </a:cubicBezTo>
                    <a:cubicBezTo>
                      <a:pt x="27" y="44"/>
                      <a:pt x="27" y="44"/>
                      <a:pt x="26" y="44"/>
                    </a:cubicBezTo>
                    <a:cubicBezTo>
                      <a:pt x="26" y="43"/>
                      <a:pt x="26" y="43"/>
                      <a:pt x="25" y="43"/>
                    </a:cubicBezTo>
                    <a:cubicBezTo>
                      <a:pt x="25" y="43"/>
                      <a:pt x="25" y="42"/>
                      <a:pt x="24" y="42"/>
                    </a:cubicBezTo>
                    <a:cubicBezTo>
                      <a:pt x="24" y="42"/>
                      <a:pt x="24" y="42"/>
                      <a:pt x="24" y="42"/>
                    </a:cubicBezTo>
                    <a:cubicBezTo>
                      <a:pt x="24" y="41"/>
                      <a:pt x="24" y="41"/>
                      <a:pt x="23" y="41"/>
                    </a:cubicBezTo>
                    <a:cubicBezTo>
                      <a:pt x="23" y="41"/>
                      <a:pt x="23" y="41"/>
                      <a:pt x="23" y="40"/>
                    </a:cubicBezTo>
                    <a:cubicBezTo>
                      <a:pt x="23" y="40"/>
                      <a:pt x="23" y="40"/>
                      <a:pt x="23" y="39"/>
                    </a:cubicBezTo>
                    <a:cubicBezTo>
                      <a:pt x="23" y="39"/>
                      <a:pt x="23" y="39"/>
                      <a:pt x="23" y="39"/>
                    </a:cubicBezTo>
                    <a:cubicBezTo>
                      <a:pt x="23" y="38"/>
                      <a:pt x="23" y="38"/>
                      <a:pt x="23" y="38"/>
                    </a:cubicBezTo>
                    <a:cubicBezTo>
                      <a:pt x="23" y="38"/>
                      <a:pt x="23" y="37"/>
                      <a:pt x="23" y="37"/>
                    </a:cubicBezTo>
                    <a:cubicBezTo>
                      <a:pt x="23" y="37"/>
                      <a:pt x="23" y="37"/>
                      <a:pt x="23" y="36"/>
                    </a:cubicBezTo>
                    <a:cubicBezTo>
                      <a:pt x="24" y="36"/>
                      <a:pt x="24" y="36"/>
                      <a:pt x="24" y="36"/>
                    </a:cubicBezTo>
                    <a:cubicBezTo>
                      <a:pt x="24" y="36"/>
                      <a:pt x="24" y="35"/>
                      <a:pt x="25" y="35"/>
                    </a:cubicBezTo>
                    <a:cubicBezTo>
                      <a:pt x="25" y="35"/>
                      <a:pt x="25" y="35"/>
                      <a:pt x="25" y="35"/>
                    </a:cubicBezTo>
                    <a:cubicBezTo>
                      <a:pt x="26" y="35"/>
                      <a:pt x="26" y="35"/>
                      <a:pt x="26" y="35"/>
                    </a:cubicBezTo>
                    <a:cubicBezTo>
                      <a:pt x="26" y="35"/>
                      <a:pt x="27" y="35"/>
                      <a:pt x="27" y="35"/>
                    </a:cubicBezTo>
                    <a:cubicBezTo>
                      <a:pt x="28" y="35"/>
                      <a:pt x="28" y="35"/>
                      <a:pt x="29" y="35"/>
                    </a:cubicBezTo>
                    <a:cubicBezTo>
                      <a:pt x="30" y="35"/>
                      <a:pt x="30" y="35"/>
                      <a:pt x="31" y="35"/>
                    </a:cubicBezTo>
                    <a:cubicBezTo>
                      <a:pt x="31" y="35"/>
                      <a:pt x="32" y="36"/>
                      <a:pt x="33" y="36"/>
                    </a:cubicBezTo>
                    <a:cubicBezTo>
                      <a:pt x="33" y="36"/>
                      <a:pt x="34" y="37"/>
                      <a:pt x="34" y="37"/>
                    </a:cubicBezTo>
                    <a:cubicBezTo>
                      <a:pt x="34" y="29"/>
                      <a:pt x="34" y="29"/>
                      <a:pt x="34" y="29"/>
                    </a:cubicBezTo>
                    <a:cubicBezTo>
                      <a:pt x="34" y="29"/>
                      <a:pt x="33" y="28"/>
                      <a:pt x="33" y="28"/>
                    </a:cubicBezTo>
                    <a:cubicBezTo>
                      <a:pt x="32" y="28"/>
                      <a:pt x="31" y="28"/>
                      <a:pt x="31" y="28"/>
                    </a:cubicBezTo>
                    <a:cubicBezTo>
                      <a:pt x="30" y="28"/>
                      <a:pt x="30" y="28"/>
                      <a:pt x="29" y="28"/>
                    </a:cubicBezTo>
                    <a:cubicBezTo>
                      <a:pt x="28" y="28"/>
                      <a:pt x="27" y="28"/>
                      <a:pt x="27" y="28"/>
                    </a:cubicBezTo>
                    <a:cubicBezTo>
                      <a:pt x="26" y="28"/>
                      <a:pt x="25" y="28"/>
                      <a:pt x="24" y="28"/>
                    </a:cubicBezTo>
                    <a:cubicBezTo>
                      <a:pt x="24" y="28"/>
                      <a:pt x="23" y="28"/>
                      <a:pt x="22" y="29"/>
                    </a:cubicBezTo>
                    <a:cubicBezTo>
                      <a:pt x="22" y="29"/>
                      <a:pt x="21" y="29"/>
                      <a:pt x="20" y="30"/>
                    </a:cubicBezTo>
                    <a:cubicBezTo>
                      <a:pt x="20" y="30"/>
                      <a:pt x="19" y="31"/>
                      <a:pt x="19" y="31"/>
                    </a:cubicBezTo>
                    <a:cubicBezTo>
                      <a:pt x="18" y="32"/>
                      <a:pt x="18" y="32"/>
                      <a:pt x="18" y="33"/>
                    </a:cubicBezTo>
                    <a:cubicBezTo>
                      <a:pt x="17" y="34"/>
                      <a:pt x="17" y="34"/>
                      <a:pt x="17" y="35"/>
                    </a:cubicBezTo>
                    <a:cubicBezTo>
                      <a:pt x="16" y="36"/>
                      <a:pt x="16" y="36"/>
                      <a:pt x="16" y="37"/>
                    </a:cubicBezTo>
                    <a:cubicBezTo>
                      <a:pt x="16" y="38"/>
                      <a:pt x="16" y="39"/>
                      <a:pt x="16" y="40"/>
                    </a:cubicBezTo>
                    <a:cubicBezTo>
                      <a:pt x="16" y="41"/>
                      <a:pt x="16" y="42"/>
                      <a:pt x="16" y="43"/>
                    </a:cubicBezTo>
                    <a:cubicBezTo>
                      <a:pt x="17" y="44"/>
                      <a:pt x="17" y="45"/>
                      <a:pt x="18" y="46"/>
                    </a:cubicBezTo>
                    <a:cubicBezTo>
                      <a:pt x="18" y="47"/>
                      <a:pt x="19" y="47"/>
                      <a:pt x="20" y="48"/>
                    </a:cubicBezTo>
                    <a:cubicBezTo>
                      <a:pt x="20" y="49"/>
                      <a:pt x="21" y="50"/>
                      <a:pt x="23" y="51"/>
                    </a:cubicBezTo>
                    <a:cubicBezTo>
                      <a:pt x="23" y="51"/>
                      <a:pt x="24" y="51"/>
                      <a:pt x="24" y="51"/>
                    </a:cubicBezTo>
                    <a:cubicBezTo>
                      <a:pt x="24" y="52"/>
                      <a:pt x="25" y="52"/>
                      <a:pt x="25" y="52"/>
                    </a:cubicBezTo>
                    <a:cubicBezTo>
                      <a:pt x="25" y="52"/>
                      <a:pt x="26" y="53"/>
                      <a:pt x="26" y="53"/>
                    </a:cubicBezTo>
                    <a:cubicBezTo>
                      <a:pt x="26" y="53"/>
                      <a:pt x="27" y="53"/>
                      <a:pt x="27" y="54"/>
                    </a:cubicBezTo>
                    <a:cubicBezTo>
                      <a:pt x="27" y="54"/>
                      <a:pt x="27" y="54"/>
                      <a:pt x="27" y="54"/>
                    </a:cubicBezTo>
                    <a:cubicBezTo>
                      <a:pt x="28" y="55"/>
                      <a:pt x="28" y="55"/>
                      <a:pt x="28" y="55"/>
                    </a:cubicBezTo>
                    <a:cubicBezTo>
                      <a:pt x="28" y="56"/>
                      <a:pt x="28" y="56"/>
                      <a:pt x="28" y="56"/>
                    </a:cubicBezTo>
                    <a:cubicBezTo>
                      <a:pt x="28" y="56"/>
                      <a:pt x="28" y="57"/>
                      <a:pt x="28" y="57"/>
                    </a:cubicBezTo>
                    <a:cubicBezTo>
                      <a:pt x="28" y="57"/>
                      <a:pt x="28" y="58"/>
                      <a:pt x="28" y="58"/>
                    </a:cubicBezTo>
                    <a:cubicBezTo>
                      <a:pt x="28" y="58"/>
                      <a:pt x="28" y="58"/>
                      <a:pt x="28" y="58"/>
                    </a:cubicBezTo>
                    <a:cubicBezTo>
                      <a:pt x="28" y="59"/>
                      <a:pt x="28" y="59"/>
                      <a:pt x="28" y="59"/>
                    </a:cubicBezTo>
                    <a:cubicBezTo>
                      <a:pt x="28" y="59"/>
                      <a:pt x="27" y="60"/>
                      <a:pt x="27" y="60"/>
                    </a:cubicBezTo>
                    <a:cubicBezTo>
                      <a:pt x="27" y="60"/>
                      <a:pt x="27" y="60"/>
                      <a:pt x="27" y="60"/>
                    </a:cubicBezTo>
                    <a:cubicBezTo>
                      <a:pt x="26" y="60"/>
                      <a:pt x="26" y="60"/>
                      <a:pt x="26" y="61"/>
                    </a:cubicBezTo>
                    <a:cubicBezTo>
                      <a:pt x="25" y="61"/>
                      <a:pt x="25" y="61"/>
                      <a:pt x="25" y="61"/>
                    </a:cubicBezTo>
                    <a:cubicBezTo>
                      <a:pt x="25" y="61"/>
                      <a:pt x="24" y="61"/>
                      <a:pt x="24" y="61"/>
                    </a:cubicBezTo>
                    <a:cubicBezTo>
                      <a:pt x="23" y="61"/>
                      <a:pt x="22" y="61"/>
                      <a:pt x="22" y="60"/>
                    </a:cubicBezTo>
                    <a:cubicBezTo>
                      <a:pt x="21" y="60"/>
                      <a:pt x="20" y="60"/>
                      <a:pt x="20" y="60"/>
                    </a:cubicBezTo>
                    <a:cubicBezTo>
                      <a:pt x="19" y="59"/>
                      <a:pt x="18" y="59"/>
                      <a:pt x="18" y="58"/>
                    </a:cubicBezTo>
                    <a:cubicBezTo>
                      <a:pt x="17" y="58"/>
                      <a:pt x="17" y="57"/>
                      <a:pt x="16" y="57"/>
                    </a:cubicBezTo>
                    <a:cubicBezTo>
                      <a:pt x="16" y="65"/>
                      <a:pt x="16" y="65"/>
                      <a:pt x="16" y="65"/>
                    </a:cubicBezTo>
                    <a:cubicBezTo>
                      <a:pt x="17" y="65"/>
                      <a:pt x="17" y="66"/>
                      <a:pt x="18" y="66"/>
                    </a:cubicBezTo>
                    <a:cubicBezTo>
                      <a:pt x="18" y="66"/>
                      <a:pt x="19" y="67"/>
                      <a:pt x="19" y="67"/>
                    </a:cubicBezTo>
                    <a:cubicBezTo>
                      <a:pt x="20" y="67"/>
                      <a:pt x="21" y="67"/>
                      <a:pt x="21" y="67"/>
                    </a:cubicBezTo>
                    <a:cubicBezTo>
                      <a:pt x="22" y="67"/>
                      <a:pt x="23" y="68"/>
                      <a:pt x="24" y="68"/>
                    </a:cubicBezTo>
                    <a:cubicBezTo>
                      <a:pt x="25" y="68"/>
                      <a:pt x="26" y="68"/>
                      <a:pt x="27" y="68"/>
                    </a:cubicBezTo>
                    <a:cubicBezTo>
                      <a:pt x="27" y="67"/>
                      <a:pt x="28" y="67"/>
                      <a:pt x="29" y="67"/>
                    </a:cubicBezTo>
                    <a:cubicBezTo>
                      <a:pt x="30" y="67"/>
                      <a:pt x="31" y="66"/>
                      <a:pt x="31" y="66"/>
                    </a:cubicBezTo>
                    <a:cubicBezTo>
                      <a:pt x="32" y="66"/>
                      <a:pt x="33" y="65"/>
                      <a:pt x="33" y="64"/>
                    </a:cubicBezTo>
                    <a:cubicBezTo>
                      <a:pt x="34" y="64"/>
                      <a:pt x="34" y="63"/>
                      <a:pt x="34" y="63"/>
                    </a:cubicBezTo>
                    <a:cubicBezTo>
                      <a:pt x="35" y="62"/>
                      <a:pt x="35" y="62"/>
                      <a:pt x="35" y="61"/>
                    </a:cubicBezTo>
                    <a:cubicBezTo>
                      <a:pt x="35" y="60"/>
                      <a:pt x="35" y="60"/>
                      <a:pt x="36" y="59"/>
                    </a:cubicBezTo>
                    <a:cubicBezTo>
                      <a:pt x="36" y="58"/>
                      <a:pt x="36" y="57"/>
                      <a:pt x="36" y="56"/>
                    </a:cubicBezTo>
                    <a:close/>
                  </a:path>
                </a:pathLst>
              </a:custGeom>
              <a:solidFill>
                <a:schemeClr val="accent2"/>
              </a:solidFill>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3" name="Group 2"/>
            <p:cNvGrpSpPr/>
            <p:nvPr/>
          </p:nvGrpSpPr>
          <p:grpSpPr>
            <a:xfrm>
              <a:off x="421112" y="3082046"/>
              <a:ext cx="745425" cy="745425"/>
              <a:chOff x="-3306352" y="2218228"/>
              <a:chExt cx="745425" cy="745425"/>
            </a:xfrm>
          </p:grpSpPr>
          <p:sp>
            <p:nvSpPr>
              <p:cNvPr id="198" name="Oval 197"/>
              <p:cNvSpPr/>
              <p:nvPr/>
            </p:nvSpPr>
            <p:spPr bwMode="auto">
              <a:xfrm>
                <a:off x="-3306352" y="221822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Freeform 13"/>
              <p:cNvSpPr>
                <a:spLocks noChangeAspect="1" noEditPoints="1"/>
              </p:cNvSpPr>
              <p:nvPr/>
            </p:nvSpPr>
            <p:spPr bwMode="auto">
              <a:xfrm>
                <a:off x="-3148035" y="2485751"/>
                <a:ext cx="393196" cy="240526"/>
              </a:xfrm>
              <a:custGeom>
                <a:avLst/>
                <a:gdLst>
                  <a:gd name="T0" fmla="*/ 257 w 462"/>
                  <a:gd name="T1" fmla="*/ 14 h 294"/>
                  <a:gd name="T2" fmla="*/ 231 w 462"/>
                  <a:gd name="T3" fmla="*/ 14 h 294"/>
                  <a:gd name="T4" fmla="*/ 0 w 462"/>
                  <a:gd name="T5" fmla="*/ 0 h 294"/>
                  <a:gd name="T6" fmla="*/ 377 w 462"/>
                  <a:gd name="T7" fmla="*/ 39 h 294"/>
                  <a:gd name="T8" fmla="*/ 342 w 462"/>
                  <a:gd name="T9" fmla="*/ 39 h 294"/>
                  <a:gd name="T10" fmla="*/ 102 w 462"/>
                  <a:gd name="T11" fmla="*/ 26 h 294"/>
                  <a:gd name="T12" fmla="*/ 0 w 462"/>
                  <a:gd name="T13" fmla="*/ 39 h 294"/>
                  <a:gd name="T14" fmla="*/ 437 w 462"/>
                  <a:gd name="T15" fmla="*/ 65 h 294"/>
                  <a:gd name="T16" fmla="*/ 283 w 462"/>
                  <a:gd name="T17" fmla="*/ 51 h 294"/>
                  <a:gd name="T18" fmla="*/ 25 w 462"/>
                  <a:gd name="T19" fmla="*/ 65 h 294"/>
                  <a:gd name="T20" fmla="*/ 45 w 462"/>
                  <a:gd name="T21" fmla="*/ 58 h 294"/>
                  <a:gd name="T22" fmla="*/ 147 w 462"/>
                  <a:gd name="T23" fmla="*/ 58 h 294"/>
                  <a:gd name="T24" fmla="*/ 437 w 462"/>
                  <a:gd name="T25" fmla="*/ 76 h 294"/>
                  <a:gd name="T26" fmla="*/ 321 w 462"/>
                  <a:gd name="T27" fmla="*/ 80 h 294"/>
                  <a:gd name="T28" fmla="*/ 128 w 462"/>
                  <a:gd name="T29" fmla="*/ 76 h 294"/>
                  <a:gd name="T30" fmla="*/ 25 w 462"/>
                  <a:gd name="T31" fmla="*/ 90 h 294"/>
                  <a:gd name="T32" fmla="*/ 399 w 462"/>
                  <a:gd name="T33" fmla="*/ 115 h 294"/>
                  <a:gd name="T34" fmla="*/ 321 w 462"/>
                  <a:gd name="T35" fmla="*/ 115 h 294"/>
                  <a:gd name="T36" fmla="*/ 328 w 462"/>
                  <a:gd name="T37" fmla="*/ 102 h 294"/>
                  <a:gd name="T38" fmla="*/ 64 w 462"/>
                  <a:gd name="T39" fmla="*/ 102 h 294"/>
                  <a:gd name="T40" fmla="*/ 399 w 462"/>
                  <a:gd name="T41" fmla="*/ 127 h 294"/>
                  <a:gd name="T42" fmla="*/ 321 w 462"/>
                  <a:gd name="T43" fmla="*/ 127 h 294"/>
                  <a:gd name="T44" fmla="*/ 383 w 462"/>
                  <a:gd name="T45" fmla="*/ 127 h 294"/>
                  <a:gd name="T46" fmla="*/ 128 w 462"/>
                  <a:gd name="T47" fmla="*/ 141 h 294"/>
                  <a:gd name="T48" fmla="*/ 206 w 462"/>
                  <a:gd name="T49" fmla="*/ 127 h 294"/>
                  <a:gd name="T50" fmla="*/ 45 w 462"/>
                  <a:gd name="T51" fmla="*/ 134 h 294"/>
                  <a:gd name="T52" fmla="*/ 399 w 462"/>
                  <a:gd name="T53" fmla="*/ 166 h 294"/>
                  <a:gd name="T54" fmla="*/ 257 w 462"/>
                  <a:gd name="T55" fmla="*/ 166 h 294"/>
                  <a:gd name="T56" fmla="*/ 369 w 462"/>
                  <a:gd name="T57" fmla="*/ 166 h 294"/>
                  <a:gd name="T58" fmla="*/ 0 w 462"/>
                  <a:gd name="T59" fmla="*/ 152 h 294"/>
                  <a:gd name="T60" fmla="*/ 102 w 462"/>
                  <a:gd name="T61" fmla="*/ 152 h 294"/>
                  <a:gd name="T62" fmla="*/ 399 w 462"/>
                  <a:gd name="T63" fmla="*/ 191 h 294"/>
                  <a:gd name="T64" fmla="*/ 431 w 462"/>
                  <a:gd name="T65" fmla="*/ 185 h 294"/>
                  <a:gd name="T66" fmla="*/ 321 w 462"/>
                  <a:gd name="T67" fmla="*/ 191 h 294"/>
                  <a:gd name="T68" fmla="*/ 0 w 462"/>
                  <a:gd name="T69" fmla="*/ 178 h 294"/>
                  <a:gd name="T70" fmla="*/ 10 w 462"/>
                  <a:gd name="T71" fmla="*/ 260 h 294"/>
                  <a:gd name="T72" fmla="*/ 56 w 462"/>
                  <a:gd name="T73" fmla="*/ 248 h 294"/>
                  <a:gd name="T74" fmla="*/ 81 w 462"/>
                  <a:gd name="T75" fmla="*/ 287 h 294"/>
                  <a:gd name="T76" fmla="*/ 138 w 462"/>
                  <a:gd name="T77" fmla="*/ 264 h 294"/>
                  <a:gd name="T78" fmla="*/ 116 w 462"/>
                  <a:gd name="T79" fmla="*/ 253 h 294"/>
                  <a:gd name="T80" fmla="*/ 185 w 462"/>
                  <a:gd name="T81" fmla="*/ 264 h 294"/>
                  <a:gd name="T82" fmla="*/ 163 w 462"/>
                  <a:gd name="T83" fmla="*/ 253 h 294"/>
                  <a:gd name="T84" fmla="*/ 219 w 462"/>
                  <a:gd name="T85" fmla="*/ 294 h 294"/>
                  <a:gd name="T86" fmla="*/ 240 w 462"/>
                  <a:gd name="T87" fmla="*/ 278 h 294"/>
                  <a:gd name="T88" fmla="*/ 253 w 462"/>
                  <a:gd name="T89" fmla="*/ 269 h 294"/>
                  <a:gd name="T90" fmla="*/ 284 w 462"/>
                  <a:gd name="T91" fmla="*/ 262 h 294"/>
                  <a:gd name="T92" fmla="*/ 302 w 462"/>
                  <a:gd name="T93" fmla="*/ 293 h 294"/>
                  <a:gd name="T94" fmla="*/ 300 w 462"/>
                  <a:gd name="T95" fmla="*/ 234 h 294"/>
                  <a:gd name="T96" fmla="*/ 322 w 462"/>
                  <a:gd name="T97" fmla="*/ 229 h 294"/>
                  <a:gd name="T98" fmla="*/ 322 w 462"/>
                  <a:gd name="T99" fmla="*/ 292 h 294"/>
                  <a:gd name="T100" fmla="*/ 364 w 462"/>
                  <a:gd name="T101" fmla="*/ 269 h 294"/>
                  <a:gd name="T102" fmla="*/ 398 w 462"/>
                  <a:gd name="T103" fmla="*/ 252 h 294"/>
                  <a:gd name="T104" fmla="*/ 386 w 462"/>
                  <a:gd name="T105" fmla="*/ 253 h 294"/>
                  <a:gd name="T106" fmla="*/ 440 w 462"/>
                  <a:gd name="T107" fmla="*/ 264 h 294"/>
                  <a:gd name="T108" fmla="*/ 453 w 462"/>
                  <a:gd name="T109" fmla="*/ 28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 h="294">
                    <a:moveTo>
                      <a:pt x="462" y="14"/>
                    </a:moveTo>
                    <a:cubicBezTo>
                      <a:pt x="385" y="14"/>
                      <a:pt x="385" y="14"/>
                      <a:pt x="385" y="14"/>
                    </a:cubicBezTo>
                    <a:cubicBezTo>
                      <a:pt x="390" y="0"/>
                      <a:pt x="390" y="0"/>
                      <a:pt x="390" y="0"/>
                    </a:cubicBezTo>
                    <a:cubicBezTo>
                      <a:pt x="462" y="0"/>
                      <a:pt x="462" y="0"/>
                      <a:pt x="462" y="0"/>
                    </a:cubicBezTo>
                    <a:cubicBezTo>
                      <a:pt x="462" y="14"/>
                      <a:pt x="462" y="14"/>
                      <a:pt x="462" y="14"/>
                    </a:cubicBezTo>
                    <a:cubicBezTo>
                      <a:pt x="462" y="14"/>
                      <a:pt x="462" y="14"/>
                      <a:pt x="462" y="14"/>
                    </a:cubicBezTo>
                    <a:close/>
                    <a:moveTo>
                      <a:pt x="257" y="14"/>
                    </a:moveTo>
                    <a:cubicBezTo>
                      <a:pt x="257" y="14"/>
                      <a:pt x="333" y="14"/>
                      <a:pt x="333" y="14"/>
                    </a:cubicBezTo>
                    <a:cubicBezTo>
                      <a:pt x="329" y="0"/>
                      <a:pt x="329" y="0"/>
                      <a:pt x="329" y="0"/>
                    </a:cubicBezTo>
                    <a:cubicBezTo>
                      <a:pt x="257" y="0"/>
                      <a:pt x="257" y="0"/>
                      <a:pt x="257" y="0"/>
                    </a:cubicBezTo>
                    <a:cubicBezTo>
                      <a:pt x="257" y="0"/>
                      <a:pt x="257" y="14"/>
                      <a:pt x="257" y="14"/>
                    </a:cubicBezTo>
                    <a:close/>
                    <a:moveTo>
                      <a:pt x="102" y="0"/>
                    </a:moveTo>
                    <a:cubicBezTo>
                      <a:pt x="102" y="0"/>
                      <a:pt x="102" y="14"/>
                      <a:pt x="102" y="14"/>
                    </a:cubicBezTo>
                    <a:cubicBezTo>
                      <a:pt x="231" y="14"/>
                      <a:pt x="231" y="14"/>
                      <a:pt x="231" y="14"/>
                    </a:cubicBezTo>
                    <a:cubicBezTo>
                      <a:pt x="223" y="5"/>
                      <a:pt x="212" y="1"/>
                      <a:pt x="201" y="0"/>
                    </a:cubicBezTo>
                    <a:cubicBezTo>
                      <a:pt x="102" y="0"/>
                      <a:pt x="102" y="0"/>
                      <a:pt x="102" y="0"/>
                    </a:cubicBezTo>
                    <a:cubicBezTo>
                      <a:pt x="102" y="0"/>
                      <a:pt x="102" y="0"/>
                      <a:pt x="102" y="0"/>
                    </a:cubicBezTo>
                    <a:close/>
                    <a:moveTo>
                      <a:pt x="0" y="14"/>
                    </a:moveTo>
                    <a:cubicBezTo>
                      <a:pt x="90" y="14"/>
                      <a:pt x="90" y="14"/>
                      <a:pt x="90" y="14"/>
                    </a:cubicBezTo>
                    <a:cubicBezTo>
                      <a:pt x="90" y="0"/>
                      <a:pt x="90" y="0"/>
                      <a:pt x="90" y="0"/>
                    </a:cubicBezTo>
                    <a:cubicBezTo>
                      <a:pt x="0" y="0"/>
                      <a:pt x="0" y="0"/>
                      <a:pt x="0" y="0"/>
                    </a:cubicBezTo>
                    <a:cubicBezTo>
                      <a:pt x="0" y="14"/>
                      <a:pt x="0" y="14"/>
                      <a:pt x="0" y="14"/>
                    </a:cubicBezTo>
                    <a:cubicBezTo>
                      <a:pt x="0" y="14"/>
                      <a:pt x="0" y="14"/>
                      <a:pt x="0" y="14"/>
                    </a:cubicBezTo>
                    <a:close/>
                    <a:moveTo>
                      <a:pt x="45" y="7"/>
                    </a:moveTo>
                    <a:cubicBezTo>
                      <a:pt x="45" y="7"/>
                      <a:pt x="45" y="7"/>
                      <a:pt x="45" y="7"/>
                    </a:cubicBezTo>
                    <a:moveTo>
                      <a:pt x="462" y="26"/>
                    </a:moveTo>
                    <a:cubicBezTo>
                      <a:pt x="381" y="26"/>
                      <a:pt x="381" y="26"/>
                      <a:pt x="381" y="26"/>
                    </a:cubicBezTo>
                    <a:cubicBezTo>
                      <a:pt x="377" y="39"/>
                      <a:pt x="377" y="39"/>
                      <a:pt x="377" y="39"/>
                    </a:cubicBezTo>
                    <a:cubicBezTo>
                      <a:pt x="462" y="39"/>
                      <a:pt x="462" y="39"/>
                      <a:pt x="462" y="39"/>
                    </a:cubicBezTo>
                    <a:cubicBezTo>
                      <a:pt x="462" y="26"/>
                      <a:pt x="462" y="26"/>
                      <a:pt x="462" y="26"/>
                    </a:cubicBezTo>
                    <a:cubicBezTo>
                      <a:pt x="462" y="26"/>
                      <a:pt x="462" y="26"/>
                      <a:pt x="462" y="26"/>
                    </a:cubicBezTo>
                    <a:close/>
                    <a:moveTo>
                      <a:pt x="338" y="26"/>
                    </a:moveTo>
                    <a:cubicBezTo>
                      <a:pt x="257" y="26"/>
                      <a:pt x="257" y="26"/>
                      <a:pt x="257" y="26"/>
                    </a:cubicBezTo>
                    <a:cubicBezTo>
                      <a:pt x="257" y="39"/>
                      <a:pt x="257" y="39"/>
                      <a:pt x="257" y="39"/>
                    </a:cubicBezTo>
                    <a:cubicBezTo>
                      <a:pt x="342" y="39"/>
                      <a:pt x="342" y="39"/>
                      <a:pt x="342" y="39"/>
                    </a:cubicBezTo>
                    <a:cubicBezTo>
                      <a:pt x="338" y="26"/>
                      <a:pt x="338" y="26"/>
                      <a:pt x="338" y="26"/>
                    </a:cubicBezTo>
                    <a:cubicBezTo>
                      <a:pt x="338" y="26"/>
                      <a:pt x="338" y="26"/>
                      <a:pt x="338" y="26"/>
                    </a:cubicBezTo>
                    <a:close/>
                    <a:moveTo>
                      <a:pt x="102" y="26"/>
                    </a:moveTo>
                    <a:cubicBezTo>
                      <a:pt x="102" y="39"/>
                      <a:pt x="102" y="39"/>
                      <a:pt x="102" y="39"/>
                    </a:cubicBezTo>
                    <a:cubicBezTo>
                      <a:pt x="245" y="39"/>
                      <a:pt x="245" y="39"/>
                      <a:pt x="245" y="39"/>
                    </a:cubicBezTo>
                    <a:cubicBezTo>
                      <a:pt x="245" y="34"/>
                      <a:pt x="243" y="30"/>
                      <a:pt x="241" y="26"/>
                    </a:cubicBezTo>
                    <a:cubicBezTo>
                      <a:pt x="102" y="26"/>
                      <a:pt x="102" y="26"/>
                      <a:pt x="102" y="26"/>
                    </a:cubicBezTo>
                    <a:cubicBezTo>
                      <a:pt x="102" y="26"/>
                      <a:pt x="102" y="26"/>
                      <a:pt x="102" y="26"/>
                    </a:cubicBezTo>
                    <a:close/>
                    <a:moveTo>
                      <a:pt x="0" y="39"/>
                    </a:moveTo>
                    <a:cubicBezTo>
                      <a:pt x="90" y="39"/>
                      <a:pt x="90" y="39"/>
                      <a:pt x="90" y="39"/>
                    </a:cubicBezTo>
                    <a:cubicBezTo>
                      <a:pt x="90" y="26"/>
                      <a:pt x="90" y="26"/>
                      <a:pt x="90" y="26"/>
                    </a:cubicBezTo>
                    <a:cubicBezTo>
                      <a:pt x="0" y="26"/>
                      <a:pt x="0" y="26"/>
                      <a:pt x="0" y="26"/>
                    </a:cubicBezTo>
                    <a:cubicBezTo>
                      <a:pt x="0" y="39"/>
                      <a:pt x="0" y="39"/>
                      <a:pt x="0" y="39"/>
                    </a:cubicBezTo>
                    <a:cubicBezTo>
                      <a:pt x="0" y="39"/>
                      <a:pt x="0" y="39"/>
                      <a:pt x="0" y="39"/>
                    </a:cubicBezTo>
                    <a:close/>
                    <a:moveTo>
                      <a:pt x="45" y="32"/>
                    </a:moveTo>
                    <a:cubicBezTo>
                      <a:pt x="45" y="32"/>
                      <a:pt x="45" y="32"/>
                      <a:pt x="45" y="32"/>
                    </a:cubicBezTo>
                    <a:moveTo>
                      <a:pt x="437" y="65"/>
                    </a:moveTo>
                    <a:cubicBezTo>
                      <a:pt x="437" y="51"/>
                      <a:pt x="437" y="51"/>
                      <a:pt x="437" y="51"/>
                    </a:cubicBezTo>
                    <a:cubicBezTo>
                      <a:pt x="372" y="51"/>
                      <a:pt x="372" y="51"/>
                      <a:pt x="372" y="51"/>
                    </a:cubicBezTo>
                    <a:cubicBezTo>
                      <a:pt x="368" y="65"/>
                      <a:pt x="368" y="65"/>
                      <a:pt x="368" y="65"/>
                    </a:cubicBezTo>
                    <a:cubicBezTo>
                      <a:pt x="437" y="65"/>
                      <a:pt x="437" y="65"/>
                      <a:pt x="437" y="65"/>
                    </a:cubicBezTo>
                    <a:cubicBezTo>
                      <a:pt x="437" y="65"/>
                      <a:pt x="437" y="65"/>
                      <a:pt x="437" y="65"/>
                    </a:cubicBezTo>
                    <a:close/>
                    <a:moveTo>
                      <a:pt x="283" y="51"/>
                    </a:moveTo>
                    <a:cubicBezTo>
                      <a:pt x="283" y="65"/>
                      <a:pt x="283" y="65"/>
                      <a:pt x="283" y="65"/>
                    </a:cubicBezTo>
                    <a:cubicBezTo>
                      <a:pt x="351" y="65"/>
                      <a:pt x="351" y="65"/>
                      <a:pt x="351" y="65"/>
                    </a:cubicBezTo>
                    <a:cubicBezTo>
                      <a:pt x="346" y="51"/>
                      <a:pt x="346" y="51"/>
                      <a:pt x="346" y="51"/>
                    </a:cubicBezTo>
                    <a:cubicBezTo>
                      <a:pt x="283" y="51"/>
                      <a:pt x="283" y="51"/>
                      <a:pt x="283" y="51"/>
                    </a:cubicBezTo>
                    <a:cubicBezTo>
                      <a:pt x="283" y="51"/>
                      <a:pt x="283" y="51"/>
                      <a:pt x="283" y="51"/>
                    </a:cubicBezTo>
                    <a:close/>
                    <a:moveTo>
                      <a:pt x="205" y="51"/>
                    </a:moveTo>
                    <a:cubicBezTo>
                      <a:pt x="205" y="65"/>
                      <a:pt x="205" y="65"/>
                      <a:pt x="205" y="65"/>
                    </a:cubicBezTo>
                    <a:cubicBezTo>
                      <a:pt x="244" y="65"/>
                      <a:pt x="244" y="65"/>
                      <a:pt x="244" y="65"/>
                    </a:cubicBezTo>
                    <a:cubicBezTo>
                      <a:pt x="246" y="61"/>
                      <a:pt x="246" y="56"/>
                      <a:pt x="246" y="51"/>
                    </a:cubicBezTo>
                    <a:cubicBezTo>
                      <a:pt x="205" y="51"/>
                      <a:pt x="205" y="51"/>
                      <a:pt x="205" y="51"/>
                    </a:cubicBezTo>
                    <a:cubicBezTo>
                      <a:pt x="205" y="51"/>
                      <a:pt x="205" y="51"/>
                      <a:pt x="205" y="51"/>
                    </a:cubicBezTo>
                    <a:close/>
                    <a:moveTo>
                      <a:pt x="25" y="65"/>
                    </a:moveTo>
                    <a:cubicBezTo>
                      <a:pt x="64" y="65"/>
                      <a:pt x="64" y="65"/>
                      <a:pt x="64" y="65"/>
                    </a:cubicBezTo>
                    <a:cubicBezTo>
                      <a:pt x="64" y="51"/>
                      <a:pt x="64" y="51"/>
                      <a:pt x="64" y="51"/>
                    </a:cubicBezTo>
                    <a:cubicBezTo>
                      <a:pt x="25" y="51"/>
                      <a:pt x="25" y="51"/>
                      <a:pt x="25" y="51"/>
                    </a:cubicBezTo>
                    <a:cubicBezTo>
                      <a:pt x="25" y="65"/>
                      <a:pt x="25" y="65"/>
                      <a:pt x="25" y="65"/>
                    </a:cubicBezTo>
                    <a:cubicBezTo>
                      <a:pt x="25" y="65"/>
                      <a:pt x="25" y="65"/>
                      <a:pt x="25" y="65"/>
                    </a:cubicBezTo>
                    <a:close/>
                    <a:moveTo>
                      <a:pt x="45" y="58"/>
                    </a:moveTo>
                    <a:cubicBezTo>
                      <a:pt x="45" y="58"/>
                      <a:pt x="45" y="58"/>
                      <a:pt x="45" y="58"/>
                    </a:cubicBezTo>
                    <a:moveTo>
                      <a:pt x="128" y="65"/>
                    </a:moveTo>
                    <a:cubicBezTo>
                      <a:pt x="167" y="65"/>
                      <a:pt x="167" y="65"/>
                      <a:pt x="167" y="65"/>
                    </a:cubicBezTo>
                    <a:cubicBezTo>
                      <a:pt x="167" y="51"/>
                      <a:pt x="167" y="51"/>
                      <a:pt x="167" y="51"/>
                    </a:cubicBezTo>
                    <a:cubicBezTo>
                      <a:pt x="128" y="51"/>
                      <a:pt x="128" y="51"/>
                      <a:pt x="128" y="51"/>
                    </a:cubicBezTo>
                    <a:cubicBezTo>
                      <a:pt x="128" y="65"/>
                      <a:pt x="128" y="65"/>
                      <a:pt x="128" y="65"/>
                    </a:cubicBezTo>
                    <a:cubicBezTo>
                      <a:pt x="128" y="65"/>
                      <a:pt x="128" y="65"/>
                      <a:pt x="128" y="65"/>
                    </a:cubicBezTo>
                    <a:close/>
                    <a:moveTo>
                      <a:pt x="147" y="58"/>
                    </a:moveTo>
                    <a:cubicBezTo>
                      <a:pt x="147" y="58"/>
                      <a:pt x="147" y="58"/>
                      <a:pt x="147" y="58"/>
                    </a:cubicBezTo>
                    <a:moveTo>
                      <a:pt x="324" y="90"/>
                    </a:moveTo>
                    <a:cubicBezTo>
                      <a:pt x="396" y="90"/>
                      <a:pt x="396" y="90"/>
                      <a:pt x="396" y="90"/>
                    </a:cubicBezTo>
                    <a:cubicBezTo>
                      <a:pt x="399" y="80"/>
                      <a:pt x="399" y="80"/>
                      <a:pt x="399" y="80"/>
                    </a:cubicBezTo>
                    <a:cubicBezTo>
                      <a:pt x="399" y="90"/>
                      <a:pt x="399" y="90"/>
                      <a:pt x="399" y="90"/>
                    </a:cubicBezTo>
                    <a:cubicBezTo>
                      <a:pt x="437" y="90"/>
                      <a:pt x="437" y="90"/>
                      <a:pt x="437" y="90"/>
                    </a:cubicBezTo>
                    <a:cubicBezTo>
                      <a:pt x="437" y="76"/>
                      <a:pt x="437" y="76"/>
                      <a:pt x="437" y="76"/>
                    </a:cubicBezTo>
                    <a:cubicBezTo>
                      <a:pt x="364" y="76"/>
                      <a:pt x="364" y="76"/>
                      <a:pt x="364" y="76"/>
                    </a:cubicBezTo>
                    <a:cubicBezTo>
                      <a:pt x="360" y="89"/>
                      <a:pt x="360" y="89"/>
                      <a:pt x="360" y="89"/>
                    </a:cubicBezTo>
                    <a:cubicBezTo>
                      <a:pt x="355" y="76"/>
                      <a:pt x="355" y="76"/>
                      <a:pt x="355" y="76"/>
                    </a:cubicBezTo>
                    <a:cubicBezTo>
                      <a:pt x="283" y="76"/>
                      <a:pt x="283" y="76"/>
                      <a:pt x="283" y="76"/>
                    </a:cubicBezTo>
                    <a:cubicBezTo>
                      <a:pt x="283" y="90"/>
                      <a:pt x="283" y="90"/>
                      <a:pt x="283" y="90"/>
                    </a:cubicBezTo>
                    <a:cubicBezTo>
                      <a:pt x="321" y="90"/>
                      <a:pt x="321" y="90"/>
                      <a:pt x="321" y="90"/>
                    </a:cubicBezTo>
                    <a:cubicBezTo>
                      <a:pt x="321" y="80"/>
                      <a:pt x="321" y="80"/>
                      <a:pt x="321" y="80"/>
                    </a:cubicBezTo>
                    <a:cubicBezTo>
                      <a:pt x="324" y="90"/>
                      <a:pt x="324" y="90"/>
                      <a:pt x="324" y="90"/>
                    </a:cubicBezTo>
                    <a:cubicBezTo>
                      <a:pt x="324" y="90"/>
                      <a:pt x="324" y="90"/>
                      <a:pt x="324" y="90"/>
                    </a:cubicBezTo>
                    <a:close/>
                    <a:moveTo>
                      <a:pt x="128" y="90"/>
                    </a:moveTo>
                    <a:cubicBezTo>
                      <a:pt x="228" y="90"/>
                      <a:pt x="228" y="90"/>
                      <a:pt x="228" y="90"/>
                    </a:cubicBezTo>
                    <a:cubicBezTo>
                      <a:pt x="232" y="86"/>
                      <a:pt x="236" y="81"/>
                      <a:pt x="239" y="76"/>
                    </a:cubicBezTo>
                    <a:cubicBezTo>
                      <a:pt x="239" y="76"/>
                      <a:pt x="239" y="76"/>
                      <a:pt x="239" y="76"/>
                    </a:cubicBezTo>
                    <a:cubicBezTo>
                      <a:pt x="128" y="76"/>
                      <a:pt x="128" y="76"/>
                      <a:pt x="128" y="76"/>
                    </a:cubicBezTo>
                    <a:cubicBezTo>
                      <a:pt x="128" y="90"/>
                      <a:pt x="128" y="90"/>
                      <a:pt x="128" y="90"/>
                    </a:cubicBezTo>
                    <a:close/>
                    <a:moveTo>
                      <a:pt x="25" y="90"/>
                    </a:moveTo>
                    <a:cubicBezTo>
                      <a:pt x="64" y="90"/>
                      <a:pt x="64" y="90"/>
                      <a:pt x="64" y="90"/>
                    </a:cubicBezTo>
                    <a:cubicBezTo>
                      <a:pt x="64" y="76"/>
                      <a:pt x="64" y="76"/>
                      <a:pt x="64" y="76"/>
                    </a:cubicBezTo>
                    <a:cubicBezTo>
                      <a:pt x="25" y="76"/>
                      <a:pt x="25" y="76"/>
                      <a:pt x="25" y="76"/>
                    </a:cubicBezTo>
                    <a:cubicBezTo>
                      <a:pt x="25" y="90"/>
                      <a:pt x="25" y="90"/>
                      <a:pt x="25" y="90"/>
                    </a:cubicBezTo>
                    <a:cubicBezTo>
                      <a:pt x="25" y="90"/>
                      <a:pt x="25" y="90"/>
                      <a:pt x="25" y="90"/>
                    </a:cubicBezTo>
                    <a:close/>
                    <a:moveTo>
                      <a:pt x="45" y="83"/>
                    </a:moveTo>
                    <a:cubicBezTo>
                      <a:pt x="45" y="83"/>
                      <a:pt x="45" y="83"/>
                      <a:pt x="45" y="83"/>
                    </a:cubicBezTo>
                    <a:moveTo>
                      <a:pt x="399" y="115"/>
                    </a:moveTo>
                    <a:cubicBezTo>
                      <a:pt x="437" y="115"/>
                      <a:pt x="437" y="115"/>
                      <a:pt x="437" y="115"/>
                    </a:cubicBezTo>
                    <a:cubicBezTo>
                      <a:pt x="437" y="102"/>
                      <a:pt x="437" y="102"/>
                      <a:pt x="437" y="102"/>
                    </a:cubicBezTo>
                    <a:cubicBezTo>
                      <a:pt x="399" y="102"/>
                      <a:pt x="399" y="102"/>
                      <a:pt x="399" y="102"/>
                    </a:cubicBezTo>
                    <a:cubicBezTo>
                      <a:pt x="399" y="115"/>
                      <a:pt x="399" y="115"/>
                      <a:pt x="399" y="115"/>
                    </a:cubicBezTo>
                    <a:cubicBezTo>
                      <a:pt x="399" y="115"/>
                      <a:pt x="399" y="115"/>
                      <a:pt x="399" y="115"/>
                    </a:cubicBezTo>
                    <a:close/>
                    <a:moveTo>
                      <a:pt x="418" y="109"/>
                    </a:moveTo>
                    <a:cubicBezTo>
                      <a:pt x="418" y="109"/>
                      <a:pt x="418" y="109"/>
                      <a:pt x="418" y="109"/>
                    </a:cubicBezTo>
                    <a:moveTo>
                      <a:pt x="321" y="102"/>
                    </a:moveTo>
                    <a:cubicBezTo>
                      <a:pt x="283" y="102"/>
                      <a:pt x="283" y="102"/>
                      <a:pt x="283" y="102"/>
                    </a:cubicBezTo>
                    <a:cubicBezTo>
                      <a:pt x="283" y="115"/>
                      <a:pt x="283" y="115"/>
                      <a:pt x="283" y="115"/>
                    </a:cubicBezTo>
                    <a:cubicBezTo>
                      <a:pt x="321" y="115"/>
                      <a:pt x="321" y="115"/>
                      <a:pt x="321" y="115"/>
                    </a:cubicBezTo>
                    <a:cubicBezTo>
                      <a:pt x="321" y="115"/>
                      <a:pt x="321" y="102"/>
                      <a:pt x="321" y="102"/>
                    </a:cubicBezTo>
                    <a:close/>
                    <a:moveTo>
                      <a:pt x="328" y="102"/>
                    </a:moveTo>
                    <a:cubicBezTo>
                      <a:pt x="333" y="115"/>
                      <a:pt x="333" y="115"/>
                      <a:pt x="333" y="115"/>
                    </a:cubicBezTo>
                    <a:cubicBezTo>
                      <a:pt x="387" y="115"/>
                      <a:pt x="387" y="115"/>
                      <a:pt x="387" y="115"/>
                    </a:cubicBezTo>
                    <a:cubicBezTo>
                      <a:pt x="387" y="115"/>
                      <a:pt x="391" y="102"/>
                      <a:pt x="391" y="102"/>
                    </a:cubicBezTo>
                    <a:cubicBezTo>
                      <a:pt x="328" y="102"/>
                      <a:pt x="328" y="102"/>
                      <a:pt x="328" y="102"/>
                    </a:cubicBezTo>
                    <a:cubicBezTo>
                      <a:pt x="328" y="102"/>
                      <a:pt x="328" y="102"/>
                      <a:pt x="328" y="102"/>
                    </a:cubicBezTo>
                    <a:close/>
                    <a:moveTo>
                      <a:pt x="128" y="115"/>
                    </a:moveTo>
                    <a:cubicBezTo>
                      <a:pt x="128" y="115"/>
                      <a:pt x="240" y="115"/>
                      <a:pt x="239" y="115"/>
                    </a:cubicBezTo>
                    <a:cubicBezTo>
                      <a:pt x="236" y="111"/>
                      <a:pt x="232" y="106"/>
                      <a:pt x="227" y="102"/>
                    </a:cubicBezTo>
                    <a:cubicBezTo>
                      <a:pt x="128" y="102"/>
                      <a:pt x="128" y="102"/>
                      <a:pt x="128" y="102"/>
                    </a:cubicBezTo>
                    <a:cubicBezTo>
                      <a:pt x="128" y="115"/>
                      <a:pt x="128" y="115"/>
                      <a:pt x="128" y="115"/>
                    </a:cubicBezTo>
                    <a:close/>
                    <a:moveTo>
                      <a:pt x="64" y="115"/>
                    </a:moveTo>
                    <a:cubicBezTo>
                      <a:pt x="64" y="102"/>
                      <a:pt x="64" y="102"/>
                      <a:pt x="64" y="102"/>
                    </a:cubicBezTo>
                    <a:cubicBezTo>
                      <a:pt x="26" y="102"/>
                      <a:pt x="26" y="102"/>
                      <a:pt x="26" y="102"/>
                    </a:cubicBezTo>
                    <a:cubicBezTo>
                      <a:pt x="26" y="115"/>
                      <a:pt x="26" y="115"/>
                      <a:pt x="26" y="115"/>
                    </a:cubicBezTo>
                    <a:cubicBezTo>
                      <a:pt x="26" y="115"/>
                      <a:pt x="64" y="115"/>
                      <a:pt x="64" y="115"/>
                    </a:cubicBezTo>
                    <a:close/>
                    <a:moveTo>
                      <a:pt x="399" y="141"/>
                    </a:moveTo>
                    <a:cubicBezTo>
                      <a:pt x="437" y="141"/>
                      <a:pt x="437" y="141"/>
                      <a:pt x="437" y="141"/>
                    </a:cubicBezTo>
                    <a:cubicBezTo>
                      <a:pt x="437" y="127"/>
                      <a:pt x="437" y="127"/>
                      <a:pt x="437" y="127"/>
                    </a:cubicBezTo>
                    <a:cubicBezTo>
                      <a:pt x="399" y="127"/>
                      <a:pt x="399" y="127"/>
                      <a:pt x="399" y="127"/>
                    </a:cubicBezTo>
                    <a:cubicBezTo>
                      <a:pt x="399" y="141"/>
                      <a:pt x="399" y="141"/>
                      <a:pt x="399" y="141"/>
                    </a:cubicBezTo>
                    <a:cubicBezTo>
                      <a:pt x="399" y="141"/>
                      <a:pt x="399" y="141"/>
                      <a:pt x="399" y="141"/>
                    </a:cubicBezTo>
                    <a:close/>
                    <a:moveTo>
                      <a:pt x="418" y="134"/>
                    </a:moveTo>
                    <a:cubicBezTo>
                      <a:pt x="418" y="134"/>
                      <a:pt x="418" y="134"/>
                      <a:pt x="418" y="134"/>
                    </a:cubicBezTo>
                    <a:moveTo>
                      <a:pt x="283" y="141"/>
                    </a:moveTo>
                    <a:cubicBezTo>
                      <a:pt x="321" y="141"/>
                      <a:pt x="321" y="141"/>
                      <a:pt x="321" y="141"/>
                    </a:cubicBezTo>
                    <a:cubicBezTo>
                      <a:pt x="321" y="127"/>
                      <a:pt x="321" y="127"/>
                      <a:pt x="321" y="127"/>
                    </a:cubicBezTo>
                    <a:cubicBezTo>
                      <a:pt x="283" y="127"/>
                      <a:pt x="283" y="127"/>
                      <a:pt x="283" y="127"/>
                    </a:cubicBezTo>
                    <a:cubicBezTo>
                      <a:pt x="283" y="141"/>
                      <a:pt x="283" y="141"/>
                      <a:pt x="283" y="141"/>
                    </a:cubicBezTo>
                    <a:cubicBezTo>
                      <a:pt x="283" y="141"/>
                      <a:pt x="283" y="141"/>
                      <a:pt x="283" y="141"/>
                    </a:cubicBezTo>
                    <a:close/>
                    <a:moveTo>
                      <a:pt x="302" y="134"/>
                    </a:moveTo>
                    <a:cubicBezTo>
                      <a:pt x="302" y="134"/>
                      <a:pt x="302" y="134"/>
                      <a:pt x="302" y="134"/>
                    </a:cubicBezTo>
                    <a:moveTo>
                      <a:pt x="378" y="141"/>
                    </a:moveTo>
                    <a:cubicBezTo>
                      <a:pt x="378" y="141"/>
                      <a:pt x="383" y="127"/>
                      <a:pt x="383" y="127"/>
                    </a:cubicBezTo>
                    <a:cubicBezTo>
                      <a:pt x="337" y="127"/>
                      <a:pt x="337" y="127"/>
                      <a:pt x="337" y="127"/>
                    </a:cubicBezTo>
                    <a:cubicBezTo>
                      <a:pt x="342" y="141"/>
                      <a:pt x="342" y="141"/>
                      <a:pt x="342" y="141"/>
                    </a:cubicBezTo>
                    <a:cubicBezTo>
                      <a:pt x="378" y="141"/>
                      <a:pt x="378" y="141"/>
                      <a:pt x="378" y="141"/>
                    </a:cubicBezTo>
                    <a:close/>
                    <a:moveTo>
                      <a:pt x="167" y="141"/>
                    </a:moveTo>
                    <a:cubicBezTo>
                      <a:pt x="167" y="141"/>
                      <a:pt x="167" y="127"/>
                      <a:pt x="167" y="127"/>
                    </a:cubicBezTo>
                    <a:cubicBezTo>
                      <a:pt x="128" y="127"/>
                      <a:pt x="128" y="127"/>
                      <a:pt x="128" y="127"/>
                    </a:cubicBezTo>
                    <a:cubicBezTo>
                      <a:pt x="128" y="141"/>
                      <a:pt x="128" y="141"/>
                      <a:pt x="128" y="141"/>
                    </a:cubicBezTo>
                    <a:cubicBezTo>
                      <a:pt x="128" y="141"/>
                      <a:pt x="167" y="141"/>
                      <a:pt x="167" y="141"/>
                    </a:cubicBezTo>
                    <a:close/>
                    <a:moveTo>
                      <a:pt x="206" y="127"/>
                    </a:moveTo>
                    <a:cubicBezTo>
                      <a:pt x="206" y="141"/>
                      <a:pt x="206" y="141"/>
                      <a:pt x="206" y="141"/>
                    </a:cubicBezTo>
                    <a:cubicBezTo>
                      <a:pt x="247" y="141"/>
                      <a:pt x="247" y="141"/>
                      <a:pt x="247" y="141"/>
                    </a:cubicBezTo>
                    <a:cubicBezTo>
                      <a:pt x="247" y="136"/>
                      <a:pt x="247" y="131"/>
                      <a:pt x="245" y="127"/>
                    </a:cubicBezTo>
                    <a:cubicBezTo>
                      <a:pt x="206" y="127"/>
                      <a:pt x="206" y="127"/>
                      <a:pt x="206" y="127"/>
                    </a:cubicBezTo>
                    <a:cubicBezTo>
                      <a:pt x="206" y="127"/>
                      <a:pt x="206" y="127"/>
                      <a:pt x="206" y="127"/>
                    </a:cubicBezTo>
                    <a:close/>
                    <a:moveTo>
                      <a:pt x="26" y="141"/>
                    </a:moveTo>
                    <a:cubicBezTo>
                      <a:pt x="64" y="141"/>
                      <a:pt x="64" y="141"/>
                      <a:pt x="64" y="141"/>
                    </a:cubicBezTo>
                    <a:cubicBezTo>
                      <a:pt x="64" y="127"/>
                      <a:pt x="64" y="127"/>
                      <a:pt x="64" y="127"/>
                    </a:cubicBezTo>
                    <a:cubicBezTo>
                      <a:pt x="26" y="127"/>
                      <a:pt x="26" y="127"/>
                      <a:pt x="26" y="127"/>
                    </a:cubicBezTo>
                    <a:cubicBezTo>
                      <a:pt x="26" y="141"/>
                      <a:pt x="26" y="141"/>
                      <a:pt x="26" y="141"/>
                    </a:cubicBezTo>
                    <a:cubicBezTo>
                      <a:pt x="26" y="141"/>
                      <a:pt x="26" y="141"/>
                      <a:pt x="26" y="141"/>
                    </a:cubicBezTo>
                    <a:close/>
                    <a:moveTo>
                      <a:pt x="45" y="134"/>
                    </a:moveTo>
                    <a:cubicBezTo>
                      <a:pt x="45" y="134"/>
                      <a:pt x="45" y="134"/>
                      <a:pt x="45" y="134"/>
                    </a:cubicBezTo>
                    <a:moveTo>
                      <a:pt x="399" y="166"/>
                    </a:moveTo>
                    <a:cubicBezTo>
                      <a:pt x="462" y="166"/>
                      <a:pt x="462" y="166"/>
                      <a:pt x="462" y="166"/>
                    </a:cubicBezTo>
                    <a:cubicBezTo>
                      <a:pt x="462" y="152"/>
                      <a:pt x="462" y="152"/>
                      <a:pt x="462" y="152"/>
                    </a:cubicBezTo>
                    <a:cubicBezTo>
                      <a:pt x="399" y="152"/>
                      <a:pt x="399" y="152"/>
                      <a:pt x="399" y="152"/>
                    </a:cubicBezTo>
                    <a:cubicBezTo>
                      <a:pt x="399" y="166"/>
                      <a:pt x="399" y="166"/>
                      <a:pt x="399" y="166"/>
                    </a:cubicBezTo>
                    <a:cubicBezTo>
                      <a:pt x="399" y="166"/>
                      <a:pt x="399" y="166"/>
                      <a:pt x="399" y="166"/>
                    </a:cubicBezTo>
                    <a:close/>
                    <a:moveTo>
                      <a:pt x="431" y="159"/>
                    </a:moveTo>
                    <a:cubicBezTo>
                      <a:pt x="431" y="159"/>
                      <a:pt x="431" y="159"/>
                      <a:pt x="431" y="159"/>
                    </a:cubicBezTo>
                    <a:moveTo>
                      <a:pt x="257" y="166"/>
                    </a:moveTo>
                    <a:cubicBezTo>
                      <a:pt x="321" y="166"/>
                      <a:pt x="321" y="166"/>
                      <a:pt x="321" y="166"/>
                    </a:cubicBezTo>
                    <a:cubicBezTo>
                      <a:pt x="321" y="152"/>
                      <a:pt x="321" y="152"/>
                      <a:pt x="321" y="152"/>
                    </a:cubicBezTo>
                    <a:cubicBezTo>
                      <a:pt x="257" y="152"/>
                      <a:pt x="257" y="152"/>
                      <a:pt x="257" y="152"/>
                    </a:cubicBezTo>
                    <a:cubicBezTo>
                      <a:pt x="257" y="166"/>
                      <a:pt x="257" y="166"/>
                      <a:pt x="257" y="166"/>
                    </a:cubicBezTo>
                    <a:cubicBezTo>
                      <a:pt x="257" y="166"/>
                      <a:pt x="257" y="166"/>
                      <a:pt x="257" y="166"/>
                    </a:cubicBezTo>
                    <a:close/>
                    <a:moveTo>
                      <a:pt x="289" y="159"/>
                    </a:moveTo>
                    <a:cubicBezTo>
                      <a:pt x="289" y="159"/>
                      <a:pt x="289" y="159"/>
                      <a:pt x="289" y="159"/>
                    </a:cubicBezTo>
                    <a:moveTo>
                      <a:pt x="374" y="152"/>
                    </a:moveTo>
                    <a:cubicBezTo>
                      <a:pt x="346" y="152"/>
                      <a:pt x="346" y="152"/>
                      <a:pt x="346" y="152"/>
                    </a:cubicBezTo>
                    <a:cubicBezTo>
                      <a:pt x="350" y="166"/>
                      <a:pt x="350" y="166"/>
                      <a:pt x="350" y="166"/>
                    </a:cubicBezTo>
                    <a:cubicBezTo>
                      <a:pt x="369" y="166"/>
                      <a:pt x="369" y="166"/>
                      <a:pt x="369" y="166"/>
                    </a:cubicBezTo>
                    <a:cubicBezTo>
                      <a:pt x="374" y="152"/>
                      <a:pt x="374" y="152"/>
                      <a:pt x="374" y="152"/>
                    </a:cubicBezTo>
                    <a:cubicBezTo>
                      <a:pt x="374" y="152"/>
                      <a:pt x="374" y="152"/>
                      <a:pt x="374" y="152"/>
                    </a:cubicBezTo>
                    <a:close/>
                    <a:moveTo>
                      <a:pt x="0" y="152"/>
                    </a:moveTo>
                    <a:cubicBezTo>
                      <a:pt x="0" y="166"/>
                      <a:pt x="0" y="166"/>
                      <a:pt x="0" y="166"/>
                    </a:cubicBezTo>
                    <a:cubicBezTo>
                      <a:pt x="90" y="166"/>
                      <a:pt x="90" y="166"/>
                      <a:pt x="90" y="166"/>
                    </a:cubicBezTo>
                    <a:cubicBezTo>
                      <a:pt x="90" y="152"/>
                      <a:pt x="90" y="152"/>
                      <a:pt x="90" y="152"/>
                    </a:cubicBezTo>
                    <a:cubicBezTo>
                      <a:pt x="0" y="152"/>
                      <a:pt x="0" y="152"/>
                      <a:pt x="0" y="152"/>
                    </a:cubicBezTo>
                    <a:close/>
                    <a:moveTo>
                      <a:pt x="102" y="152"/>
                    </a:moveTo>
                    <a:cubicBezTo>
                      <a:pt x="102" y="166"/>
                      <a:pt x="102" y="166"/>
                      <a:pt x="102" y="166"/>
                    </a:cubicBezTo>
                    <a:cubicBezTo>
                      <a:pt x="240" y="166"/>
                      <a:pt x="240" y="166"/>
                      <a:pt x="240" y="166"/>
                    </a:cubicBezTo>
                    <a:cubicBezTo>
                      <a:pt x="241" y="166"/>
                      <a:pt x="241" y="166"/>
                      <a:pt x="241" y="166"/>
                    </a:cubicBezTo>
                    <a:cubicBezTo>
                      <a:pt x="244" y="162"/>
                      <a:pt x="245" y="157"/>
                      <a:pt x="246" y="152"/>
                    </a:cubicBezTo>
                    <a:cubicBezTo>
                      <a:pt x="102" y="152"/>
                      <a:pt x="102" y="152"/>
                      <a:pt x="102" y="152"/>
                    </a:cubicBezTo>
                    <a:cubicBezTo>
                      <a:pt x="102" y="152"/>
                      <a:pt x="102" y="152"/>
                      <a:pt x="102" y="152"/>
                    </a:cubicBezTo>
                    <a:close/>
                    <a:moveTo>
                      <a:pt x="365" y="178"/>
                    </a:moveTo>
                    <a:cubicBezTo>
                      <a:pt x="354" y="178"/>
                      <a:pt x="354" y="178"/>
                      <a:pt x="354" y="178"/>
                    </a:cubicBezTo>
                    <a:cubicBezTo>
                      <a:pt x="359" y="191"/>
                      <a:pt x="359" y="191"/>
                      <a:pt x="359" y="191"/>
                    </a:cubicBezTo>
                    <a:cubicBezTo>
                      <a:pt x="361" y="191"/>
                      <a:pt x="361" y="191"/>
                      <a:pt x="361" y="191"/>
                    </a:cubicBezTo>
                    <a:cubicBezTo>
                      <a:pt x="365" y="178"/>
                      <a:pt x="365" y="178"/>
                      <a:pt x="365" y="178"/>
                    </a:cubicBezTo>
                    <a:cubicBezTo>
                      <a:pt x="365" y="178"/>
                      <a:pt x="365" y="178"/>
                      <a:pt x="365" y="178"/>
                    </a:cubicBezTo>
                    <a:close/>
                    <a:moveTo>
                      <a:pt x="399" y="191"/>
                    </a:moveTo>
                    <a:cubicBezTo>
                      <a:pt x="462" y="191"/>
                      <a:pt x="462" y="191"/>
                      <a:pt x="462" y="191"/>
                    </a:cubicBezTo>
                    <a:cubicBezTo>
                      <a:pt x="462" y="178"/>
                      <a:pt x="462" y="178"/>
                      <a:pt x="462" y="178"/>
                    </a:cubicBezTo>
                    <a:cubicBezTo>
                      <a:pt x="399" y="178"/>
                      <a:pt x="399" y="178"/>
                      <a:pt x="399" y="178"/>
                    </a:cubicBezTo>
                    <a:cubicBezTo>
                      <a:pt x="399" y="191"/>
                      <a:pt x="399" y="191"/>
                      <a:pt x="399" y="191"/>
                    </a:cubicBezTo>
                    <a:cubicBezTo>
                      <a:pt x="399" y="191"/>
                      <a:pt x="399" y="191"/>
                      <a:pt x="399" y="191"/>
                    </a:cubicBezTo>
                    <a:close/>
                    <a:moveTo>
                      <a:pt x="431" y="185"/>
                    </a:moveTo>
                    <a:cubicBezTo>
                      <a:pt x="431" y="185"/>
                      <a:pt x="431" y="185"/>
                      <a:pt x="431" y="185"/>
                    </a:cubicBezTo>
                    <a:moveTo>
                      <a:pt x="102" y="191"/>
                    </a:moveTo>
                    <a:cubicBezTo>
                      <a:pt x="199" y="191"/>
                      <a:pt x="199" y="191"/>
                      <a:pt x="199" y="191"/>
                    </a:cubicBezTo>
                    <a:cubicBezTo>
                      <a:pt x="212" y="191"/>
                      <a:pt x="223" y="186"/>
                      <a:pt x="232" y="178"/>
                    </a:cubicBezTo>
                    <a:cubicBezTo>
                      <a:pt x="232" y="178"/>
                      <a:pt x="102" y="178"/>
                      <a:pt x="102" y="178"/>
                    </a:cubicBezTo>
                    <a:cubicBezTo>
                      <a:pt x="102" y="191"/>
                      <a:pt x="102" y="191"/>
                      <a:pt x="102" y="191"/>
                    </a:cubicBezTo>
                    <a:moveTo>
                      <a:pt x="257" y="191"/>
                    </a:moveTo>
                    <a:cubicBezTo>
                      <a:pt x="321" y="191"/>
                      <a:pt x="321" y="191"/>
                      <a:pt x="321" y="191"/>
                    </a:cubicBezTo>
                    <a:cubicBezTo>
                      <a:pt x="321" y="178"/>
                      <a:pt x="321" y="178"/>
                      <a:pt x="321" y="178"/>
                    </a:cubicBezTo>
                    <a:cubicBezTo>
                      <a:pt x="257" y="178"/>
                      <a:pt x="257" y="178"/>
                      <a:pt x="257" y="178"/>
                    </a:cubicBezTo>
                    <a:cubicBezTo>
                      <a:pt x="257" y="191"/>
                      <a:pt x="257" y="191"/>
                      <a:pt x="257" y="191"/>
                    </a:cubicBezTo>
                    <a:cubicBezTo>
                      <a:pt x="257" y="191"/>
                      <a:pt x="257" y="191"/>
                      <a:pt x="257" y="191"/>
                    </a:cubicBezTo>
                    <a:close/>
                    <a:moveTo>
                      <a:pt x="289" y="185"/>
                    </a:moveTo>
                    <a:cubicBezTo>
                      <a:pt x="289" y="185"/>
                      <a:pt x="289" y="185"/>
                      <a:pt x="289" y="185"/>
                    </a:cubicBezTo>
                    <a:moveTo>
                      <a:pt x="0" y="178"/>
                    </a:moveTo>
                    <a:cubicBezTo>
                      <a:pt x="0" y="191"/>
                      <a:pt x="0" y="191"/>
                      <a:pt x="0" y="191"/>
                    </a:cubicBezTo>
                    <a:cubicBezTo>
                      <a:pt x="90" y="191"/>
                      <a:pt x="90" y="191"/>
                      <a:pt x="90" y="191"/>
                    </a:cubicBezTo>
                    <a:cubicBezTo>
                      <a:pt x="90" y="178"/>
                      <a:pt x="90" y="178"/>
                      <a:pt x="90" y="178"/>
                    </a:cubicBezTo>
                    <a:cubicBezTo>
                      <a:pt x="0" y="178"/>
                      <a:pt x="0" y="178"/>
                      <a:pt x="0" y="178"/>
                    </a:cubicBezTo>
                    <a:close/>
                    <a:moveTo>
                      <a:pt x="48" y="248"/>
                    </a:moveTo>
                    <a:cubicBezTo>
                      <a:pt x="46" y="237"/>
                      <a:pt x="36" y="235"/>
                      <a:pt x="30" y="235"/>
                    </a:cubicBezTo>
                    <a:cubicBezTo>
                      <a:pt x="19" y="235"/>
                      <a:pt x="10" y="244"/>
                      <a:pt x="10" y="260"/>
                    </a:cubicBezTo>
                    <a:cubicBezTo>
                      <a:pt x="10" y="275"/>
                      <a:pt x="15" y="287"/>
                      <a:pt x="31" y="287"/>
                    </a:cubicBezTo>
                    <a:cubicBezTo>
                      <a:pt x="36" y="287"/>
                      <a:pt x="46" y="284"/>
                      <a:pt x="49" y="269"/>
                    </a:cubicBezTo>
                    <a:cubicBezTo>
                      <a:pt x="57" y="269"/>
                      <a:pt x="57" y="269"/>
                      <a:pt x="57" y="269"/>
                    </a:cubicBezTo>
                    <a:cubicBezTo>
                      <a:pt x="53" y="293"/>
                      <a:pt x="34" y="294"/>
                      <a:pt x="29" y="294"/>
                    </a:cubicBezTo>
                    <a:cubicBezTo>
                      <a:pt x="15" y="294"/>
                      <a:pt x="1" y="285"/>
                      <a:pt x="1" y="260"/>
                    </a:cubicBezTo>
                    <a:cubicBezTo>
                      <a:pt x="1" y="241"/>
                      <a:pt x="12" y="228"/>
                      <a:pt x="30" y="228"/>
                    </a:cubicBezTo>
                    <a:cubicBezTo>
                      <a:pt x="47" y="228"/>
                      <a:pt x="55" y="238"/>
                      <a:pt x="56" y="248"/>
                    </a:cubicBezTo>
                    <a:lnTo>
                      <a:pt x="48" y="248"/>
                    </a:lnTo>
                    <a:close/>
                    <a:moveTo>
                      <a:pt x="81" y="245"/>
                    </a:moveTo>
                    <a:cubicBezTo>
                      <a:pt x="95" y="245"/>
                      <a:pt x="102" y="257"/>
                      <a:pt x="102" y="269"/>
                    </a:cubicBezTo>
                    <a:cubicBezTo>
                      <a:pt x="102" y="281"/>
                      <a:pt x="95" y="294"/>
                      <a:pt x="81" y="294"/>
                    </a:cubicBezTo>
                    <a:cubicBezTo>
                      <a:pt x="66" y="294"/>
                      <a:pt x="59" y="281"/>
                      <a:pt x="59" y="269"/>
                    </a:cubicBezTo>
                    <a:cubicBezTo>
                      <a:pt x="59" y="257"/>
                      <a:pt x="66" y="245"/>
                      <a:pt x="81" y="245"/>
                    </a:cubicBezTo>
                    <a:close/>
                    <a:moveTo>
                      <a:pt x="81" y="287"/>
                    </a:moveTo>
                    <a:cubicBezTo>
                      <a:pt x="92" y="287"/>
                      <a:pt x="94" y="276"/>
                      <a:pt x="94" y="269"/>
                    </a:cubicBezTo>
                    <a:cubicBezTo>
                      <a:pt x="94" y="263"/>
                      <a:pt x="92" y="252"/>
                      <a:pt x="81" y="252"/>
                    </a:cubicBezTo>
                    <a:cubicBezTo>
                      <a:pt x="69" y="252"/>
                      <a:pt x="67" y="263"/>
                      <a:pt x="67" y="269"/>
                    </a:cubicBezTo>
                    <a:cubicBezTo>
                      <a:pt x="67" y="276"/>
                      <a:pt x="69" y="287"/>
                      <a:pt x="81" y="287"/>
                    </a:cubicBezTo>
                    <a:close/>
                    <a:moveTo>
                      <a:pt x="146" y="292"/>
                    </a:moveTo>
                    <a:cubicBezTo>
                      <a:pt x="138" y="292"/>
                      <a:pt x="138" y="292"/>
                      <a:pt x="138" y="292"/>
                    </a:cubicBezTo>
                    <a:cubicBezTo>
                      <a:pt x="138" y="264"/>
                      <a:pt x="138" y="264"/>
                      <a:pt x="138" y="264"/>
                    </a:cubicBezTo>
                    <a:cubicBezTo>
                      <a:pt x="138" y="256"/>
                      <a:pt x="136" y="252"/>
                      <a:pt x="128" y="252"/>
                    </a:cubicBezTo>
                    <a:cubicBezTo>
                      <a:pt x="124" y="252"/>
                      <a:pt x="116" y="255"/>
                      <a:pt x="116" y="267"/>
                    </a:cubicBezTo>
                    <a:cubicBezTo>
                      <a:pt x="116" y="292"/>
                      <a:pt x="116" y="292"/>
                      <a:pt x="116" y="292"/>
                    </a:cubicBezTo>
                    <a:cubicBezTo>
                      <a:pt x="108" y="292"/>
                      <a:pt x="108" y="292"/>
                      <a:pt x="108" y="292"/>
                    </a:cubicBezTo>
                    <a:cubicBezTo>
                      <a:pt x="108" y="246"/>
                      <a:pt x="108" y="246"/>
                      <a:pt x="108" y="246"/>
                    </a:cubicBezTo>
                    <a:cubicBezTo>
                      <a:pt x="116" y="246"/>
                      <a:pt x="116" y="246"/>
                      <a:pt x="116" y="246"/>
                    </a:cubicBezTo>
                    <a:cubicBezTo>
                      <a:pt x="116" y="253"/>
                      <a:pt x="116" y="253"/>
                      <a:pt x="116" y="253"/>
                    </a:cubicBezTo>
                    <a:cubicBezTo>
                      <a:pt x="116" y="253"/>
                      <a:pt x="116" y="253"/>
                      <a:pt x="116" y="253"/>
                    </a:cubicBezTo>
                    <a:cubicBezTo>
                      <a:pt x="118" y="250"/>
                      <a:pt x="122" y="245"/>
                      <a:pt x="130" y="245"/>
                    </a:cubicBezTo>
                    <a:cubicBezTo>
                      <a:pt x="137" y="245"/>
                      <a:pt x="146" y="248"/>
                      <a:pt x="146" y="261"/>
                    </a:cubicBezTo>
                    <a:lnTo>
                      <a:pt x="146" y="292"/>
                    </a:lnTo>
                    <a:close/>
                    <a:moveTo>
                      <a:pt x="193" y="292"/>
                    </a:moveTo>
                    <a:cubicBezTo>
                      <a:pt x="185" y="292"/>
                      <a:pt x="185" y="292"/>
                      <a:pt x="185" y="292"/>
                    </a:cubicBezTo>
                    <a:cubicBezTo>
                      <a:pt x="185" y="264"/>
                      <a:pt x="185" y="264"/>
                      <a:pt x="185" y="264"/>
                    </a:cubicBezTo>
                    <a:cubicBezTo>
                      <a:pt x="185" y="256"/>
                      <a:pt x="183" y="252"/>
                      <a:pt x="175" y="252"/>
                    </a:cubicBezTo>
                    <a:cubicBezTo>
                      <a:pt x="171" y="252"/>
                      <a:pt x="163" y="255"/>
                      <a:pt x="163" y="267"/>
                    </a:cubicBezTo>
                    <a:cubicBezTo>
                      <a:pt x="163" y="292"/>
                      <a:pt x="163" y="292"/>
                      <a:pt x="163" y="292"/>
                    </a:cubicBezTo>
                    <a:cubicBezTo>
                      <a:pt x="155" y="292"/>
                      <a:pt x="155" y="292"/>
                      <a:pt x="155" y="292"/>
                    </a:cubicBezTo>
                    <a:cubicBezTo>
                      <a:pt x="155" y="246"/>
                      <a:pt x="155" y="246"/>
                      <a:pt x="155" y="246"/>
                    </a:cubicBezTo>
                    <a:cubicBezTo>
                      <a:pt x="163" y="246"/>
                      <a:pt x="163" y="246"/>
                      <a:pt x="163" y="246"/>
                    </a:cubicBezTo>
                    <a:cubicBezTo>
                      <a:pt x="163" y="253"/>
                      <a:pt x="163" y="253"/>
                      <a:pt x="163" y="253"/>
                    </a:cubicBezTo>
                    <a:cubicBezTo>
                      <a:pt x="163" y="253"/>
                      <a:pt x="163" y="253"/>
                      <a:pt x="163" y="253"/>
                    </a:cubicBezTo>
                    <a:cubicBezTo>
                      <a:pt x="164" y="250"/>
                      <a:pt x="169" y="245"/>
                      <a:pt x="177" y="245"/>
                    </a:cubicBezTo>
                    <a:cubicBezTo>
                      <a:pt x="184" y="245"/>
                      <a:pt x="193" y="248"/>
                      <a:pt x="193" y="261"/>
                    </a:cubicBezTo>
                    <a:lnTo>
                      <a:pt x="193" y="292"/>
                    </a:lnTo>
                    <a:close/>
                    <a:moveTo>
                      <a:pt x="240" y="278"/>
                    </a:moveTo>
                    <a:cubicBezTo>
                      <a:pt x="239" y="280"/>
                      <a:pt x="237" y="287"/>
                      <a:pt x="232" y="291"/>
                    </a:cubicBezTo>
                    <a:cubicBezTo>
                      <a:pt x="229" y="292"/>
                      <a:pt x="226" y="294"/>
                      <a:pt x="219" y="294"/>
                    </a:cubicBezTo>
                    <a:cubicBezTo>
                      <a:pt x="206" y="294"/>
                      <a:pt x="198" y="284"/>
                      <a:pt x="198" y="271"/>
                    </a:cubicBezTo>
                    <a:cubicBezTo>
                      <a:pt x="198" y="256"/>
                      <a:pt x="205" y="245"/>
                      <a:pt x="221" y="245"/>
                    </a:cubicBezTo>
                    <a:cubicBezTo>
                      <a:pt x="234" y="245"/>
                      <a:pt x="240" y="256"/>
                      <a:pt x="240" y="272"/>
                    </a:cubicBezTo>
                    <a:cubicBezTo>
                      <a:pt x="207" y="272"/>
                      <a:pt x="207" y="272"/>
                      <a:pt x="207" y="272"/>
                    </a:cubicBezTo>
                    <a:cubicBezTo>
                      <a:pt x="207" y="282"/>
                      <a:pt x="211" y="287"/>
                      <a:pt x="220" y="287"/>
                    </a:cubicBezTo>
                    <a:cubicBezTo>
                      <a:pt x="227" y="287"/>
                      <a:pt x="232" y="281"/>
                      <a:pt x="232" y="278"/>
                    </a:cubicBezTo>
                    <a:lnTo>
                      <a:pt x="240" y="278"/>
                    </a:lnTo>
                    <a:close/>
                    <a:moveTo>
                      <a:pt x="232" y="266"/>
                    </a:moveTo>
                    <a:cubicBezTo>
                      <a:pt x="232" y="259"/>
                      <a:pt x="229" y="252"/>
                      <a:pt x="219" y="252"/>
                    </a:cubicBezTo>
                    <a:cubicBezTo>
                      <a:pt x="212" y="252"/>
                      <a:pt x="207" y="259"/>
                      <a:pt x="207" y="266"/>
                    </a:cubicBezTo>
                    <a:lnTo>
                      <a:pt x="232" y="266"/>
                    </a:lnTo>
                    <a:close/>
                    <a:moveTo>
                      <a:pt x="276" y="262"/>
                    </a:moveTo>
                    <a:cubicBezTo>
                      <a:pt x="275" y="256"/>
                      <a:pt x="272" y="252"/>
                      <a:pt x="265" y="252"/>
                    </a:cubicBezTo>
                    <a:cubicBezTo>
                      <a:pt x="256" y="252"/>
                      <a:pt x="253" y="261"/>
                      <a:pt x="253" y="269"/>
                    </a:cubicBezTo>
                    <a:cubicBezTo>
                      <a:pt x="253" y="277"/>
                      <a:pt x="254" y="287"/>
                      <a:pt x="265" y="287"/>
                    </a:cubicBezTo>
                    <a:cubicBezTo>
                      <a:pt x="270" y="287"/>
                      <a:pt x="275" y="283"/>
                      <a:pt x="276" y="276"/>
                    </a:cubicBezTo>
                    <a:cubicBezTo>
                      <a:pt x="284" y="276"/>
                      <a:pt x="284" y="276"/>
                      <a:pt x="284" y="276"/>
                    </a:cubicBezTo>
                    <a:cubicBezTo>
                      <a:pt x="283" y="283"/>
                      <a:pt x="278" y="294"/>
                      <a:pt x="265" y="294"/>
                    </a:cubicBezTo>
                    <a:cubicBezTo>
                      <a:pt x="252" y="294"/>
                      <a:pt x="244" y="284"/>
                      <a:pt x="244" y="271"/>
                    </a:cubicBezTo>
                    <a:cubicBezTo>
                      <a:pt x="244" y="256"/>
                      <a:pt x="251" y="245"/>
                      <a:pt x="266" y="245"/>
                    </a:cubicBezTo>
                    <a:cubicBezTo>
                      <a:pt x="278" y="245"/>
                      <a:pt x="283" y="254"/>
                      <a:pt x="284" y="262"/>
                    </a:cubicBezTo>
                    <a:lnTo>
                      <a:pt x="276" y="262"/>
                    </a:lnTo>
                    <a:close/>
                    <a:moveTo>
                      <a:pt x="300" y="253"/>
                    </a:moveTo>
                    <a:cubicBezTo>
                      <a:pt x="300" y="283"/>
                      <a:pt x="300" y="283"/>
                      <a:pt x="300" y="283"/>
                    </a:cubicBezTo>
                    <a:cubicBezTo>
                      <a:pt x="300" y="286"/>
                      <a:pt x="304" y="286"/>
                      <a:pt x="305" y="286"/>
                    </a:cubicBezTo>
                    <a:cubicBezTo>
                      <a:pt x="308" y="286"/>
                      <a:pt x="308" y="286"/>
                      <a:pt x="308" y="286"/>
                    </a:cubicBezTo>
                    <a:cubicBezTo>
                      <a:pt x="308" y="292"/>
                      <a:pt x="308" y="292"/>
                      <a:pt x="308" y="292"/>
                    </a:cubicBezTo>
                    <a:cubicBezTo>
                      <a:pt x="305" y="293"/>
                      <a:pt x="303" y="293"/>
                      <a:pt x="302" y="293"/>
                    </a:cubicBezTo>
                    <a:cubicBezTo>
                      <a:pt x="294" y="293"/>
                      <a:pt x="293" y="289"/>
                      <a:pt x="293" y="283"/>
                    </a:cubicBezTo>
                    <a:cubicBezTo>
                      <a:pt x="293" y="253"/>
                      <a:pt x="293" y="253"/>
                      <a:pt x="293" y="253"/>
                    </a:cubicBezTo>
                    <a:cubicBezTo>
                      <a:pt x="286" y="253"/>
                      <a:pt x="286" y="253"/>
                      <a:pt x="286" y="253"/>
                    </a:cubicBezTo>
                    <a:cubicBezTo>
                      <a:pt x="286" y="246"/>
                      <a:pt x="286" y="246"/>
                      <a:pt x="286" y="246"/>
                    </a:cubicBezTo>
                    <a:cubicBezTo>
                      <a:pt x="293" y="246"/>
                      <a:pt x="293" y="246"/>
                      <a:pt x="293" y="246"/>
                    </a:cubicBezTo>
                    <a:cubicBezTo>
                      <a:pt x="293" y="234"/>
                      <a:pt x="293" y="234"/>
                      <a:pt x="293" y="234"/>
                    </a:cubicBezTo>
                    <a:cubicBezTo>
                      <a:pt x="300" y="234"/>
                      <a:pt x="300" y="234"/>
                      <a:pt x="300" y="234"/>
                    </a:cubicBezTo>
                    <a:cubicBezTo>
                      <a:pt x="300" y="246"/>
                      <a:pt x="300" y="246"/>
                      <a:pt x="300" y="246"/>
                    </a:cubicBezTo>
                    <a:cubicBezTo>
                      <a:pt x="308" y="246"/>
                      <a:pt x="308" y="246"/>
                      <a:pt x="308" y="246"/>
                    </a:cubicBezTo>
                    <a:cubicBezTo>
                      <a:pt x="308" y="253"/>
                      <a:pt x="308" y="253"/>
                      <a:pt x="308" y="253"/>
                    </a:cubicBezTo>
                    <a:lnTo>
                      <a:pt x="300" y="253"/>
                    </a:lnTo>
                    <a:close/>
                    <a:moveTo>
                      <a:pt x="314" y="238"/>
                    </a:moveTo>
                    <a:cubicBezTo>
                      <a:pt x="314" y="229"/>
                      <a:pt x="314" y="229"/>
                      <a:pt x="314" y="229"/>
                    </a:cubicBezTo>
                    <a:cubicBezTo>
                      <a:pt x="322" y="229"/>
                      <a:pt x="322" y="229"/>
                      <a:pt x="322" y="229"/>
                    </a:cubicBezTo>
                    <a:cubicBezTo>
                      <a:pt x="322" y="238"/>
                      <a:pt x="322" y="238"/>
                      <a:pt x="322" y="238"/>
                    </a:cubicBezTo>
                    <a:lnTo>
                      <a:pt x="314" y="238"/>
                    </a:lnTo>
                    <a:close/>
                    <a:moveTo>
                      <a:pt x="322" y="292"/>
                    </a:moveTo>
                    <a:cubicBezTo>
                      <a:pt x="314" y="292"/>
                      <a:pt x="314" y="292"/>
                      <a:pt x="314" y="292"/>
                    </a:cubicBezTo>
                    <a:cubicBezTo>
                      <a:pt x="314" y="246"/>
                      <a:pt x="314" y="246"/>
                      <a:pt x="314" y="246"/>
                    </a:cubicBezTo>
                    <a:cubicBezTo>
                      <a:pt x="322" y="246"/>
                      <a:pt x="322" y="246"/>
                      <a:pt x="322" y="246"/>
                    </a:cubicBezTo>
                    <a:lnTo>
                      <a:pt x="322" y="292"/>
                    </a:lnTo>
                    <a:close/>
                    <a:moveTo>
                      <a:pt x="351" y="245"/>
                    </a:moveTo>
                    <a:cubicBezTo>
                      <a:pt x="365" y="245"/>
                      <a:pt x="372" y="257"/>
                      <a:pt x="372" y="269"/>
                    </a:cubicBezTo>
                    <a:cubicBezTo>
                      <a:pt x="372" y="281"/>
                      <a:pt x="365" y="294"/>
                      <a:pt x="351" y="294"/>
                    </a:cubicBezTo>
                    <a:cubicBezTo>
                      <a:pt x="336" y="294"/>
                      <a:pt x="329" y="281"/>
                      <a:pt x="329" y="269"/>
                    </a:cubicBezTo>
                    <a:cubicBezTo>
                      <a:pt x="329" y="257"/>
                      <a:pt x="336" y="245"/>
                      <a:pt x="351" y="245"/>
                    </a:cubicBezTo>
                    <a:close/>
                    <a:moveTo>
                      <a:pt x="351" y="287"/>
                    </a:moveTo>
                    <a:cubicBezTo>
                      <a:pt x="362" y="287"/>
                      <a:pt x="364" y="276"/>
                      <a:pt x="364" y="269"/>
                    </a:cubicBezTo>
                    <a:cubicBezTo>
                      <a:pt x="364" y="263"/>
                      <a:pt x="362" y="252"/>
                      <a:pt x="351" y="252"/>
                    </a:cubicBezTo>
                    <a:cubicBezTo>
                      <a:pt x="339" y="252"/>
                      <a:pt x="337" y="263"/>
                      <a:pt x="337" y="269"/>
                    </a:cubicBezTo>
                    <a:cubicBezTo>
                      <a:pt x="337" y="276"/>
                      <a:pt x="339" y="287"/>
                      <a:pt x="351" y="287"/>
                    </a:cubicBezTo>
                    <a:close/>
                    <a:moveTo>
                      <a:pt x="416" y="292"/>
                    </a:moveTo>
                    <a:cubicBezTo>
                      <a:pt x="408" y="292"/>
                      <a:pt x="408" y="292"/>
                      <a:pt x="408" y="292"/>
                    </a:cubicBezTo>
                    <a:cubicBezTo>
                      <a:pt x="408" y="264"/>
                      <a:pt x="408" y="264"/>
                      <a:pt x="408" y="264"/>
                    </a:cubicBezTo>
                    <a:cubicBezTo>
                      <a:pt x="408" y="256"/>
                      <a:pt x="406" y="252"/>
                      <a:pt x="398" y="252"/>
                    </a:cubicBezTo>
                    <a:cubicBezTo>
                      <a:pt x="394" y="252"/>
                      <a:pt x="386" y="255"/>
                      <a:pt x="386" y="267"/>
                    </a:cubicBezTo>
                    <a:cubicBezTo>
                      <a:pt x="386" y="292"/>
                      <a:pt x="386" y="292"/>
                      <a:pt x="386" y="292"/>
                    </a:cubicBezTo>
                    <a:cubicBezTo>
                      <a:pt x="379" y="292"/>
                      <a:pt x="379" y="292"/>
                      <a:pt x="379" y="292"/>
                    </a:cubicBezTo>
                    <a:cubicBezTo>
                      <a:pt x="379" y="246"/>
                      <a:pt x="379" y="246"/>
                      <a:pt x="379" y="246"/>
                    </a:cubicBezTo>
                    <a:cubicBezTo>
                      <a:pt x="386" y="246"/>
                      <a:pt x="386" y="246"/>
                      <a:pt x="386" y="246"/>
                    </a:cubicBezTo>
                    <a:cubicBezTo>
                      <a:pt x="386" y="253"/>
                      <a:pt x="386" y="253"/>
                      <a:pt x="386" y="253"/>
                    </a:cubicBezTo>
                    <a:cubicBezTo>
                      <a:pt x="386" y="253"/>
                      <a:pt x="386" y="253"/>
                      <a:pt x="386" y="253"/>
                    </a:cubicBezTo>
                    <a:cubicBezTo>
                      <a:pt x="388" y="250"/>
                      <a:pt x="392" y="245"/>
                      <a:pt x="400" y="245"/>
                    </a:cubicBezTo>
                    <a:cubicBezTo>
                      <a:pt x="407" y="245"/>
                      <a:pt x="416" y="248"/>
                      <a:pt x="416" y="261"/>
                    </a:cubicBezTo>
                    <a:lnTo>
                      <a:pt x="416" y="292"/>
                    </a:lnTo>
                    <a:close/>
                    <a:moveTo>
                      <a:pt x="451" y="260"/>
                    </a:moveTo>
                    <a:cubicBezTo>
                      <a:pt x="451" y="257"/>
                      <a:pt x="450" y="252"/>
                      <a:pt x="441" y="252"/>
                    </a:cubicBezTo>
                    <a:cubicBezTo>
                      <a:pt x="438" y="252"/>
                      <a:pt x="431" y="253"/>
                      <a:pt x="431" y="258"/>
                    </a:cubicBezTo>
                    <a:cubicBezTo>
                      <a:pt x="431" y="262"/>
                      <a:pt x="434" y="263"/>
                      <a:pt x="440" y="264"/>
                    </a:cubicBezTo>
                    <a:cubicBezTo>
                      <a:pt x="447" y="266"/>
                      <a:pt x="447" y="266"/>
                      <a:pt x="447" y="266"/>
                    </a:cubicBezTo>
                    <a:cubicBezTo>
                      <a:pt x="457" y="269"/>
                      <a:pt x="460" y="272"/>
                      <a:pt x="460" y="279"/>
                    </a:cubicBezTo>
                    <a:cubicBezTo>
                      <a:pt x="460" y="288"/>
                      <a:pt x="453" y="294"/>
                      <a:pt x="442" y="294"/>
                    </a:cubicBezTo>
                    <a:cubicBezTo>
                      <a:pt x="424" y="294"/>
                      <a:pt x="423" y="283"/>
                      <a:pt x="422" y="278"/>
                    </a:cubicBezTo>
                    <a:cubicBezTo>
                      <a:pt x="430" y="278"/>
                      <a:pt x="430" y="278"/>
                      <a:pt x="430" y="278"/>
                    </a:cubicBezTo>
                    <a:cubicBezTo>
                      <a:pt x="430" y="281"/>
                      <a:pt x="431" y="287"/>
                      <a:pt x="442" y="287"/>
                    </a:cubicBezTo>
                    <a:cubicBezTo>
                      <a:pt x="448" y="287"/>
                      <a:pt x="453" y="285"/>
                      <a:pt x="453" y="280"/>
                    </a:cubicBezTo>
                    <a:cubicBezTo>
                      <a:pt x="453" y="276"/>
                      <a:pt x="450" y="275"/>
                      <a:pt x="444" y="273"/>
                    </a:cubicBezTo>
                    <a:cubicBezTo>
                      <a:pt x="435" y="271"/>
                      <a:pt x="435" y="271"/>
                      <a:pt x="435" y="271"/>
                    </a:cubicBezTo>
                    <a:cubicBezTo>
                      <a:pt x="428" y="269"/>
                      <a:pt x="424" y="266"/>
                      <a:pt x="424" y="260"/>
                    </a:cubicBezTo>
                    <a:cubicBezTo>
                      <a:pt x="424" y="250"/>
                      <a:pt x="432" y="245"/>
                      <a:pt x="441" y="245"/>
                    </a:cubicBezTo>
                    <a:cubicBezTo>
                      <a:pt x="458" y="245"/>
                      <a:pt x="459" y="257"/>
                      <a:pt x="459" y="260"/>
                    </a:cubicBezTo>
                    <a:lnTo>
                      <a:pt x="451" y="260"/>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sp>
          <p:nvSpPr>
            <p:cNvPr id="256" name="Oval 255"/>
            <p:cNvSpPr/>
            <p:nvPr/>
          </p:nvSpPr>
          <p:spPr bwMode="auto">
            <a:xfrm>
              <a:off x="1669271" y="194088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Oval 258"/>
            <p:cNvSpPr/>
            <p:nvPr/>
          </p:nvSpPr>
          <p:spPr bwMode="auto">
            <a:xfrm>
              <a:off x="2906363" y="193672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2" name="Oval 261"/>
            <p:cNvSpPr/>
            <p:nvPr/>
          </p:nvSpPr>
          <p:spPr bwMode="auto">
            <a:xfrm>
              <a:off x="421112" y="195884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48" name="Picture 247"/>
            <p:cNvPicPr>
              <a:picLocks noChangeAspect="1"/>
            </p:cNvPicPr>
            <p:nvPr/>
          </p:nvPicPr>
          <p:blipFill>
            <a:blip r:embed="rId4"/>
            <a:stretch>
              <a:fillRect/>
            </a:stretch>
          </p:blipFill>
          <p:spPr>
            <a:xfrm>
              <a:off x="3072576" y="2169044"/>
              <a:ext cx="404684" cy="223288"/>
            </a:xfrm>
            <a:prstGeom prst="rect">
              <a:avLst/>
            </a:prstGeom>
          </p:spPr>
        </p:pic>
        <p:pic>
          <p:nvPicPr>
            <p:cNvPr id="253" name="Picture 252"/>
            <p:cNvPicPr>
              <a:picLocks noChangeAspect="1"/>
            </p:cNvPicPr>
            <p:nvPr/>
          </p:nvPicPr>
          <p:blipFill rotWithShape="1">
            <a:blip r:embed="rId5">
              <a:extLst>
                <a:ext uri="{BEBA8EAE-BF5A-486C-A8C5-ECC9F3942E4B}">
                  <a14:imgProps xmlns:a14="http://schemas.microsoft.com/office/drawing/2010/main">
                    <a14:imgLayer r:embed="rId6">
                      <a14:imgEffect>
                        <a14:saturation sat="200000"/>
                      </a14:imgEffect>
                    </a14:imgLayer>
                  </a14:imgProps>
                </a:ext>
              </a:extLst>
            </a:blip>
            <a:srcRect l="25959" t="9610" r="25959" b="9610"/>
            <a:stretch/>
          </p:blipFill>
          <p:spPr>
            <a:xfrm>
              <a:off x="586268" y="2093652"/>
              <a:ext cx="407507" cy="456569"/>
            </a:xfrm>
            <a:prstGeom prst="rect">
              <a:avLst/>
            </a:prstGeom>
          </p:spPr>
        </p:pic>
        <p:sp>
          <p:nvSpPr>
            <p:cNvPr id="266" name="Oval 265"/>
            <p:cNvSpPr/>
            <p:nvPr/>
          </p:nvSpPr>
          <p:spPr bwMode="auto">
            <a:xfrm>
              <a:off x="2918110" y="543043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Oval 271"/>
            <p:cNvSpPr/>
            <p:nvPr/>
          </p:nvSpPr>
          <p:spPr bwMode="auto">
            <a:xfrm>
              <a:off x="1656378" y="543725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7" name="Picture 286"/>
            <p:cNvPicPr>
              <a:picLocks noChangeAspect="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5300"/>
                      </a14:imgEffect>
                      <a14:imgEffect>
                        <a14:saturation sat="400000"/>
                      </a14:imgEffect>
                      <a14:imgEffect>
                        <a14:brightnessContrast bright="22000" contrast="100000"/>
                      </a14:imgEffect>
                    </a14:imgLayer>
                  </a14:imgProps>
                </a:ext>
              </a:extLst>
            </a:blip>
            <a:stretch>
              <a:fillRect/>
            </a:stretch>
          </p:blipFill>
          <p:spPr>
            <a:xfrm>
              <a:off x="1731259" y="5748889"/>
              <a:ext cx="571098" cy="122160"/>
            </a:xfrm>
            <a:prstGeom prst="rect">
              <a:avLst/>
            </a:prstGeom>
          </p:spPr>
        </p:pic>
        <p:pic>
          <p:nvPicPr>
            <p:cNvPr id="289" name="Picture 288"/>
            <p:cNvPicPr>
              <a:picLocks noChangeAspect="1"/>
            </p:cNvPicPr>
            <p:nvPr/>
          </p:nvPicPr>
          <p:blipFill rotWithShape="1">
            <a:blip r:embed="rId9">
              <a:duotone>
                <a:schemeClr val="accent2">
                  <a:shade val="45000"/>
                  <a:satMod val="135000"/>
                </a:schemeClr>
                <a:prstClr val="white"/>
              </a:duotone>
              <a:extLst>
                <a:ext uri="{BEBA8EAE-BF5A-486C-A8C5-ECC9F3942E4B}">
                  <a14:imgProps xmlns:a14="http://schemas.microsoft.com/office/drawing/2010/main">
                    <a14:imgLayer r:embed="rId10">
                      <a14:imgEffect>
                        <a14:saturation sat="300000"/>
                      </a14:imgEffect>
                    </a14:imgLayer>
                  </a14:imgProps>
                </a:ext>
              </a:extLst>
            </a:blip>
            <a:srcRect t="30510" b="30510"/>
            <a:stretch/>
          </p:blipFill>
          <p:spPr>
            <a:xfrm>
              <a:off x="3052561" y="5710228"/>
              <a:ext cx="476728" cy="185832"/>
            </a:xfrm>
            <a:prstGeom prst="rect">
              <a:avLst/>
            </a:prstGeom>
          </p:spPr>
        </p:pic>
        <p:grpSp>
          <p:nvGrpSpPr>
            <p:cNvPr id="18" name="Group 17"/>
            <p:cNvGrpSpPr/>
            <p:nvPr/>
          </p:nvGrpSpPr>
          <p:grpSpPr>
            <a:xfrm>
              <a:off x="415110" y="5437257"/>
              <a:ext cx="745425" cy="745425"/>
              <a:chOff x="415110" y="5437257"/>
              <a:chExt cx="745425" cy="745425"/>
            </a:xfrm>
          </p:grpSpPr>
          <p:sp>
            <p:nvSpPr>
              <p:cNvPr id="269" name="Oval 268"/>
              <p:cNvSpPr/>
              <p:nvPr/>
            </p:nvSpPr>
            <p:spPr bwMode="auto">
              <a:xfrm>
                <a:off x="415110" y="5437257"/>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 name="Picture 16"/>
              <p:cNvPicPr>
                <a:picLocks noChangeAspect="1"/>
              </p:cNvPicPr>
              <p:nvPr/>
            </p:nvPicPr>
            <p:blipFill>
              <a:blip r:embed="rId11">
                <a:duotone>
                  <a:schemeClr val="accent2">
                    <a:shade val="45000"/>
                    <a:satMod val="135000"/>
                  </a:schemeClr>
                  <a:prstClr val="white"/>
                </a:duotone>
              </a:blip>
              <a:stretch>
                <a:fillRect/>
              </a:stretch>
            </p:blipFill>
            <p:spPr>
              <a:xfrm>
                <a:off x="481047" y="5646925"/>
                <a:ext cx="607640" cy="303820"/>
              </a:xfrm>
              <a:prstGeom prst="rect">
                <a:avLst/>
              </a:prstGeom>
            </p:spPr>
          </p:pic>
        </p:grpSp>
        <p:sp>
          <p:nvSpPr>
            <p:cNvPr id="123" name="Freeform 5"/>
            <p:cNvSpPr>
              <a:spLocks noChangeAspect="1" noEditPoints="1"/>
            </p:cNvSpPr>
            <p:nvPr/>
          </p:nvSpPr>
          <p:spPr bwMode="black">
            <a:xfrm>
              <a:off x="1864428" y="2130688"/>
              <a:ext cx="338431" cy="339462"/>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chemeClr val="accent2"/>
            </a:solidFill>
            <a:ln>
              <a:noFill/>
            </a:ln>
          </p:spPr>
          <p:txBody>
            <a:bodyPr vert="horz" wrap="square" lIns="89604" tIns="44802" rIns="89604" bIns="44802" numCol="1" anchor="t" anchorCtr="0" compatLnSpc="1">
              <a:prstTxWarp prst="textNoShape">
                <a:avLst/>
              </a:prstTxWarp>
            </a:bodyPr>
            <a:lstStyle/>
            <a:p>
              <a:pPr defTabSz="895870">
                <a:defRPr/>
              </a:pPr>
              <a:endParaRPr lang="en-US" sz="1765" kern="0">
                <a:solidFill>
                  <a:srgbClr val="505050"/>
                </a:solidFill>
                <a:latin typeface="Segoe UI"/>
              </a:endParaRPr>
            </a:p>
          </p:txBody>
        </p:sp>
      </p:grpSp>
      <p:grpSp>
        <p:nvGrpSpPr>
          <p:cNvPr id="5" name="Group 4"/>
          <p:cNvGrpSpPr/>
          <p:nvPr/>
        </p:nvGrpSpPr>
        <p:grpSpPr>
          <a:xfrm>
            <a:off x="8491882" y="1939180"/>
            <a:ext cx="3190671" cy="4540808"/>
            <a:chOff x="13685837" y="1976919"/>
            <a:chExt cx="3256037" cy="4633832"/>
          </a:xfrm>
        </p:grpSpPr>
        <p:sp>
          <p:nvSpPr>
            <p:cNvPr id="103" name="Oval 102"/>
            <p:cNvSpPr/>
            <p:nvPr/>
          </p:nvSpPr>
          <p:spPr bwMode="auto">
            <a:xfrm flipH="1">
              <a:off x="16181469"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04" name="Oval 103"/>
            <p:cNvSpPr/>
            <p:nvPr/>
          </p:nvSpPr>
          <p:spPr bwMode="auto">
            <a:xfrm flipH="1">
              <a:off x="1368583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09" name="Oval 108"/>
            <p:cNvSpPr/>
            <p:nvPr/>
          </p:nvSpPr>
          <p:spPr bwMode="auto">
            <a:xfrm flipH="1">
              <a:off x="16181469"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b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b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0" name="Oval 109"/>
            <p:cNvSpPr/>
            <p:nvPr/>
          </p:nvSpPr>
          <p:spPr bwMode="auto">
            <a:xfrm flipH="1">
              <a:off x="14933654"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1" name="Oval 110"/>
            <p:cNvSpPr/>
            <p:nvPr/>
          </p:nvSpPr>
          <p:spPr bwMode="auto">
            <a:xfrm flipH="1">
              <a:off x="14933654"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2" name="Oval 111"/>
            <p:cNvSpPr/>
            <p:nvPr/>
          </p:nvSpPr>
          <p:spPr bwMode="auto">
            <a:xfrm flipH="1">
              <a:off x="13685838" y="3119504"/>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3" name="Oval 112"/>
            <p:cNvSpPr/>
            <p:nvPr/>
          </p:nvSpPr>
          <p:spPr bwMode="auto">
            <a:xfrm flipH="1">
              <a:off x="13685838"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spc="-49">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14" name="Picture 113"/>
            <p:cNvPicPr>
              <a:picLocks noChangeAspect="1"/>
            </p:cNvPicPr>
            <p:nvPr/>
          </p:nvPicPr>
          <p:blipFill>
            <a:blip r:embed="rId12"/>
            <a:stretch>
              <a:fillRect/>
            </a:stretch>
          </p:blipFill>
          <p:spPr>
            <a:xfrm>
              <a:off x="13875458" y="2167918"/>
              <a:ext cx="323821" cy="323821"/>
            </a:xfrm>
            <a:prstGeom prst="rect">
              <a:avLst/>
            </a:prstGeom>
          </p:spPr>
        </p:pic>
        <p:pic>
          <p:nvPicPr>
            <p:cNvPr id="115" name="Picture 114"/>
            <p:cNvPicPr>
              <a:picLocks noChangeAspect="1"/>
            </p:cNvPicPr>
            <p:nvPr/>
          </p:nvPicPr>
          <p:blipFill>
            <a:blip r:embed="rId13"/>
            <a:stretch>
              <a:fillRect/>
            </a:stretch>
          </p:blipFill>
          <p:spPr>
            <a:xfrm>
              <a:off x="15092032" y="2119643"/>
              <a:ext cx="410201" cy="410198"/>
            </a:xfrm>
            <a:prstGeom prst="rect">
              <a:avLst/>
            </a:prstGeom>
          </p:spPr>
        </p:pic>
        <p:pic>
          <p:nvPicPr>
            <p:cNvPr id="124" name="Picture 123"/>
            <p:cNvPicPr>
              <a:picLocks noChangeAspect="1"/>
            </p:cNvPicPr>
            <p:nvPr/>
          </p:nvPicPr>
          <p:blipFill>
            <a:blip r:embed="rId14"/>
            <a:stretch>
              <a:fillRect/>
            </a:stretch>
          </p:blipFill>
          <p:spPr>
            <a:xfrm>
              <a:off x="16367454" y="2156181"/>
              <a:ext cx="365410" cy="365410"/>
            </a:xfrm>
            <a:prstGeom prst="rect">
              <a:avLst/>
            </a:prstGeom>
          </p:spPr>
        </p:pic>
        <p:sp>
          <p:nvSpPr>
            <p:cNvPr id="125" name="Rectangle 124"/>
            <p:cNvSpPr/>
            <p:nvPr/>
          </p:nvSpPr>
          <p:spPr bwMode="auto">
            <a:xfrm flipH="1">
              <a:off x="16181468" y="3813625"/>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Functions</a:t>
              </a:r>
            </a:p>
          </p:txBody>
        </p:sp>
        <p:sp>
          <p:nvSpPr>
            <p:cNvPr id="126" name="Rectangle 125"/>
            <p:cNvSpPr/>
            <p:nvPr/>
          </p:nvSpPr>
          <p:spPr bwMode="auto">
            <a:xfrm flipH="1">
              <a:off x="1368583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Machine Learning</a:t>
              </a:r>
            </a:p>
          </p:txBody>
        </p:sp>
        <p:sp>
          <p:nvSpPr>
            <p:cNvPr id="127" name="Rectangle 126"/>
            <p:cNvSpPr/>
            <p:nvPr/>
          </p:nvSpPr>
          <p:spPr bwMode="auto">
            <a:xfrm flipH="1">
              <a:off x="16181468"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SQL Database</a:t>
              </a:r>
            </a:p>
          </p:txBody>
        </p:sp>
        <p:sp>
          <p:nvSpPr>
            <p:cNvPr id="128" name="Rectangle 127"/>
            <p:cNvSpPr/>
            <p:nvPr/>
          </p:nvSpPr>
          <p:spPr bwMode="auto">
            <a:xfrm flipH="1">
              <a:off x="14724417" y="3813625"/>
              <a:ext cx="1163896"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BLOB Storage</a:t>
              </a:r>
            </a:p>
          </p:txBody>
        </p:sp>
        <p:sp>
          <p:nvSpPr>
            <p:cNvPr id="129" name="Rectangle 128"/>
            <p:cNvSpPr/>
            <p:nvPr/>
          </p:nvSpPr>
          <p:spPr bwMode="auto">
            <a:xfrm flipH="1">
              <a:off x="14933653"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Azure Search</a:t>
              </a:r>
            </a:p>
          </p:txBody>
        </p:sp>
        <p:sp>
          <p:nvSpPr>
            <p:cNvPr id="130" name="Rectangle 129"/>
            <p:cNvSpPr/>
            <p:nvPr/>
          </p:nvSpPr>
          <p:spPr bwMode="auto">
            <a:xfrm flipH="1">
              <a:off x="13685837" y="3836354"/>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err="1">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DocDB</a:t>
              </a: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31" name="Rectangle 130"/>
            <p:cNvSpPr/>
            <p:nvPr/>
          </p:nvSpPr>
          <p:spPr bwMode="auto">
            <a:xfrm flipH="1">
              <a:off x="13685837"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spc="-49" err="1">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IoT</a:t>
              </a:r>
              <a:r>
                <a:rPr lang="en-US" sz="980" kern="0" spc="-49">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Event Hub</a:t>
              </a:r>
            </a:p>
          </p:txBody>
        </p:sp>
        <p:pic>
          <p:nvPicPr>
            <p:cNvPr id="132" name="Picture 131"/>
            <p:cNvPicPr>
              <a:picLocks noChangeAspect="1"/>
            </p:cNvPicPr>
            <p:nvPr/>
          </p:nvPicPr>
          <p:blipFill>
            <a:blip r:embed="rId15"/>
            <a:stretch>
              <a:fillRect/>
            </a:stretch>
          </p:blipFill>
          <p:spPr>
            <a:xfrm>
              <a:off x="13895073" y="3329839"/>
              <a:ext cx="318430" cy="318428"/>
            </a:xfrm>
            <a:prstGeom prst="rect">
              <a:avLst/>
            </a:prstGeom>
          </p:spPr>
        </p:pic>
        <p:pic>
          <p:nvPicPr>
            <p:cNvPr id="137" name="Picture 136"/>
            <p:cNvPicPr>
              <a:picLocks noChangeAspect="1"/>
            </p:cNvPicPr>
            <p:nvPr/>
          </p:nvPicPr>
          <p:blipFill>
            <a:blip r:embed="rId16"/>
            <a:stretch>
              <a:fillRect/>
            </a:stretch>
          </p:blipFill>
          <p:spPr>
            <a:xfrm>
              <a:off x="15128224" y="3281965"/>
              <a:ext cx="350516" cy="350514"/>
            </a:xfrm>
            <a:prstGeom prst="rect">
              <a:avLst/>
            </a:prstGeom>
          </p:spPr>
        </p:pic>
        <p:pic>
          <p:nvPicPr>
            <p:cNvPr id="138" name="Picture 137"/>
            <p:cNvPicPr>
              <a:picLocks noChangeAspect="1"/>
            </p:cNvPicPr>
            <p:nvPr/>
          </p:nvPicPr>
          <p:blipFill>
            <a:blip r:embed="rId17"/>
            <a:stretch>
              <a:fillRect/>
            </a:stretch>
          </p:blipFill>
          <p:spPr>
            <a:xfrm>
              <a:off x="13886985" y="4465556"/>
              <a:ext cx="336042" cy="336042"/>
            </a:xfrm>
            <a:prstGeom prst="rect">
              <a:avLst/>
            </a:prstGeom>
          </p:spPr>
        </p:pic>
        <p:pic>
          <p:nvPicPr>
            <p:cNvPr id="139" name="Picture 138"/>
            <p:cNvPicPr>
              <a:picLocks noChangeAspect="1"/>
            </p:cNvPicPr>
            <p:nvPr/>
          </p:nvPicPr>
          <p:blipFill>
            <a:blip r:embed="rId18">
              <a:clrChange>
                <a:clrFrom>
                  <a:srgbClr val="FFFFFF"/>
                </a:clrFrom>
                <a:clrTo>
                  <a:srgbClr val="FFFFFF">
                    <a:alpha val="0"/>
                  </a:srgbClr>
                </a:clrTo>
              </a:clrChange>
            </a:blip>
            <a:stretch>
              <a:fillRect/>
            </a:stretch>
          </p:blipFill>
          <p:spPr>
            <a:xfrm>
              <a:off x="16158443" y="3266884"/>
              <a:ext cx="783431" cy="404948"/>
            </a:xfrm>
            <a:prstGeom prst="rect">
              <a:avLst/>
            </a:prstGeom>
          </p:spPr>
        </p:pic>
        <p:sp>
          <p:nvSpPr>
            <p:cNvPr id="140" name="Oval 139"/>
            <p:cNvSpPr/>
            <p:nvPr/>
          </p:nvSpPr>
          <p:spPr bwMode="auto">
            <a:xfrm flipH="1">
              <a:off x="14933653"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41" name="Rectangle 140"/>
            <p:cNvSpPr/>
            <p:nvPr/>
          </p:nvSpPr>
          <p:spPr bwMode="auto">
            <a:xfrm flipH="1">
              <a:off x="14933652"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HD Insight</a:t>
              </a:r>
            </a:p>
          </p:txBody>
        </p:sp>
        <p:sp>
          <p:nvSpPr>
            <p:cNvPr id="142" name="Oval 141"/>
            <p:cNvSpPr/>
            <p:nvPr/>
          </p:nvSpPr>
          <p:spPr bwMode="auto">
            <a:xfrm flipH="1">
              <a:off x="1618146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43" name="Rectangle 142"/>
            <p:cNvSpPr/>
            <p:nvPr/>
          </p:nvSpPr>
          <p:spPr bwMode="auto">
            <a:xfrm flipH="1">
              <a:off x="1618146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Site Recovery</a:t>
              </a:r>
            </a:p>
          </p:txBody>
        </p:sp>
        <p:pic>
          <p:nvPicPr>
            <p:cNvPr id="144" name="Picture 143"/>
            <p:cNvPicPr>
              <a:picLocks noChangeAspect="1"/>
            </p:cNvPicPr>
            <p:nvPr/>
          </p:nvPicPr>
          <p:blipFill>
            <a:blip r:embed="rId19"/>
            <a:stretch>
              <a:fillRect/>
            </a:stretch>
          </p:blipFill>
          <p:spPr>
            <a:xfrm>
              <a:off x="15095615" y="4429712"/>
              <a:ext cx="407730" cy="407730"/>
            </a:xfrm>
            <a:prstGeom prst="rect">
              <a:avLst/>
            </a:prstGeom>
          </p:spPr>
        </p:pic>
        <p:pic>
          <p:nvPicPr>
            <p:cNvPr id="145" name="Picture 144"/>
            <p:cNvPicPr>
              <a:picLocks noChangeAspect="1"/>
            </p:cNvPicPr>
            <p:nvPr/>
          </p:nvPicPr>
          <p:blipFill>
            <a:blip r:embed="rId20"/>
            <a:stretch>
              <a:fillRect/>
            </a:stretch>
          </p:blipFill>
          <p:spPr>
            <a:xfrm>
              <a:off x="16353164" y="4428516"/>
              <a:ext cx="393988" cy="393988"/>
            </a:xfrm>
            <a:prstGeom prst="rect">
              <a:avLst/>
            </a:prstGeom>
          </p:spPr>
        </p:pic>
        <p:sp>
          <p:nvSpPr>
            <p:cNvPr id="153" name="Rectangle 152"/>
            <p:cNvSpPr/>
            <p:nvPr/>
          </p:nvSpPr>
          <p:spPr bwMode="auto">
            <a:xfrm flipH="1">
              <a:off x="1368583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Tables</a:t>
              </a:r>
            </a:p>
          </p:txBody>
        </p:sp>
        <p:sp>
          <p:nvSpPr>
            <p:cNvPr id="154" name="Oval 153"/>
            <p:cNvSpPr/>
            <p:nvPr/>
          </p:nvSpPr>
          <p:spPr bwMode="auto">
            <a:xfrm flipH="1">
              <a:off x="14933653"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55" name="Rectangle 154"/>
            <p:cNvSpPr/>
            <p:nvPr/>
          </p:nvSpPr>
          <p:spPr bwMode="auto">
            <a:xfrm flipH="1">
              <a:off x="14933652"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Cognitive Services</a:t>
              </a:r>
            </a:p>
          </p:txBody>
        </p:sp>
        <p:sp>
          <p:nvSpPr>
            <p:cNvPr id="156" name="Oval 155"/>
            <p:cNvSpPr/>
            <p:nvPr/>
          </p:nvSpPr>
          <p:spPr bwMode="auto">
            <a:xfrm flipH="1">
              <a:off x="16181468"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57" name="Rectangle 156"/>
            <p:cNvSpPr/>
            <p:nvPr/>
          </p:nvSpPr>
          <p:spPr bwMode="auto">
            <a:xfrm flipH="1">
              <a:off x="1618146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DNS</a:t>
              </a:r>
            </a:p>
          </p:txBody>
        </p:sp>
        <p:pic>
          <p:nvPicPr>
            <p:cNvPr id="158" name="Picture 157"/>
            <p:cNvPicPr>
              <a:picLocks noChangeAspect="1"/>
            </p:cNvPicPr>
            <p:nvPr/>
          </p:nvPicPr>
          <p:blipFill>
            <a:blip r:embed="rId21"/>
            <a:stretch>
              <a:fillRect/>
            </a:stretch>
          </p:blipFill>
          <p:spPr>
            <a:xfrm>
              <a:off x="16359980" y="5639121"/>
              <a:ext cx="376514" cy="376512"/>
            </a:xfrm>
            <a:prstGeom prst="rect">
              <a:avLst/>
            </a:prstGeom>
          </p:spPr>
        </p:pic>
        <p:grpSp>
          <p:nvGrpSpPr>
            <p:cNvPr id="160" name="Group 159"/>
            <p:cNvGrpSpPr/>
            <p:nvPr/>
          </p:nvGrpSpPr>
          <p:grpSpPr>
            <a:xfrm>
              <a:off x="13685838" y="5468533"/>
              <a:ext cx="745425" cy="745425"/>
              <a:chOff x="8677795" y="5316133"/>
              <a:chExt cx="745425" cy="745425"/>
            </a:xfrm>
          </p:grpSpPr>
          <p:sp>
            <p:nvSpPr>
              <p:cNvPr id="161" name="Oval 160"/>
              <p:cNvSpPr/>
              <p:nvPr/>
            </p:nvSpPr>
            <p:spPr bwMode="auto">
              <a:xfrm flipH="1">
                <a:off x="8677795" y="53161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2" name="Picture 161"/>
              <p:cNvPicPr>
                <a:picLocks noChangeAspect="1"/>
              </p:cNvPicPr>
              <p:nvPr/>
            </p:nvPicPr>
            <p:blipFill>
              <a:blip r:embed="rId22"/>
              <a:stretch>
                <a:fillRect/>
              </a:stretch>
            </p:blipFill>
            <p:spPr>
              <a:xfrm>
                <a:off x="8868611" y="5495925"/>
                <a:ext cx="367482" cy="367482"/>
              </a:xfrm>
              <a:prstGeom prst="rect">
                <a:avLst/>
              </a:prstGeom>
            </p:spPr>
          </p:pic>
        </p:grpSp>
        <p:pic>
          <p:nvPicPr>
            <p:cNvPr id="100" name="Picture 99"/>
            <p:cNvPicPr>
              <a:picLocks noChangeAspect="1"/>
            </p:cNvPicPr>
            <p:nvPr/>
          </p:nvPicPr>
          <p:blipFill>
            <a:blip r:embed="rId23"/>
            <a:stretch>
              <a:fillRect/>
            </a:stretch>
          </p:blipFill>
          <p:spPr>
            <a:xfrm>
              <a:off x="15103358" y="5638238"/>
              <a:ext cx="406014" cy="406014"/>
            </a:xfrm>
            <a:prstGeom prst="rect">
              <a:avLst/>
            </a:prstGeom>
          </p:spPr>
        </p:pic>
      </p:grpSp>
      <p:pic>
        <p:nvPicPr>
          <p:cNvPr id="6" name="Picture 5"/>
          <p:cNvPicPr>
            <a:picLocks noChangeAspect="1"/>
          </p:cNvPicPr>
          <p:nvPr/>
        </p:nvPicPr>
        <p:blipFill>
          <a:blip r:embed="rId24"/>
          <a:stretch>
            <a:fillRect/>
          </a:stretch>
        </p:blipFill>
        <p:spPr>
          <a:xfrm>
            <a:off x="4879334" y="2816815"/>
            <a:ext cx="2505057" cy="2419661"/>
          </a:xfrm>
          <a:prstGeom prst="rect">
            <a:avLst/>
          </a:prstGeom>
        </p:spPr>
      </p:pic>
      <p:pic>
        <p:nvPicPr>
          <p:cNvPr id="12" name="Picture 11"/>
          <p:cNvPicPr>
            <a:picLocks noChangeAspect="1"/>
          </p:cNvPicPr>
          <p:nvPr/>
        </p:nvPicPr>
        <p:blipFill>
          <a:blip r:embed="rId25"/>
          <a:stretch>
            <a:fillRect/>
          </a:stretch>
        </p:blipFill>
        <p:spPr>
          <a:xfrm>
            <a:off x="5413511" y="3347878"/>
            <a:ext cx="1495213" cy="1304740"/>
          </a:xfrm>
          <a:prstGeom prst="rect">
            <a:avLst/>
          </a:prstGeom>
        </p:spPr>
      </p:pic>
      <p:pic>
        <p:nvPicPr>
          <p:cNvPr id="13" name="Picture 12"/>
          <p:cNvPicPr>
            <a:picLocks noChangeAspect="1"/>
          </p:cNvPicPr>
          <p:nvPr/>
        </p:nvPicPr>
        <p:blipFill>
          <a:blip r:embed="rId26"/>
          <a:stretch>
            <a:fillRect/>
          </a:stretch>
        </p:blipFill>
        <p:spPr>
          <a:xfrm>
            <a:off x="5212403" y="3311822"/>
            <a:ext cx="1876159" cy="1466642"/>
          </a:xfrm>
          <a:prstGeom prst="rect">
            <a:avLst/>
          </a:prstGeom>
        </p:spPr>
      </p:pic>
      <p:pic>
        <p:nvPicPr>
          <p:cNvPr id="7" name="Picture 6"/>
          <p:cNvPicPr>
            <a:picLocks noChangeAspect="1"/>
          </p:cNvPicPr>
          <p:nvPr/>
        </p:nvPicPr>
        <p:blipFill>
          <a:blip r:embed="rId27"/>
          <a:stretch>
            <a:fillRect/>
          </a:stretch>
        </p:blipFill>
        <p:spPr>
          <a:xfrm>
            <a:off x="5086782" y="3395497"/>
            <a:ext cx="2095203" cy="1285692"/>
          </a:xfrm>
          <a:prstGeom prst="rect">
            <a:avLst/>
          </a:prstGeom>
        </p:spPr>
      </p:pic>
      <p:pic>
        <p:nvPicPr>
          <p:cNvPr id="14" name="Picture 13"/>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65690" y="3794415"/>
            <a:ext cx="918341" cy="721553"/>
          </a:xfrm>
          <a:prstGeom prst="rect">
            <a:avLst/>
          </a:prstGeom>
        </p:spPr>
      </p:pic>
    </p:spTree>
    <p:extLst>
      <p:ext uri="{BB962C8B-B14F-4D97-AF65-F5344CB8AC3E}">
        <p14:creationId xmlns:p14="http://schemas.microsoft.com/office/powerpoint/2010/main" val="144185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 presetClass="emph" presetSubtype="0" accel="100000" autoRev="1" fill="hold" nodeType="withEffect">
                                  <p:stCondLst>
                                    <p:cond delay="0"/>
                                  </p:stCondLst>
                                  <p:childTnLst>
                                    <p:animScale>
                                      <p:cBhvr>
                                        <p:cTn id="9" dur="500" fill="hold"/>
                                        <p:tgtEl>
                                          <p:spTgt spid="8"/>
                                        </p:tgtEl>
                                      </p:cBhvr>
                                      <p:by x="60000" y="60000"/>
                                    </p:animScale>
                                  </p:childTnLst>
                                </p:cTn>
                              </p:par>
                            </p:childTnLst>
                          </p:cTn>
                        </p:par>
                      </p:childTnLst>
                    </p:cTn>
                  </p:par>
                  <p:par>
                    <p:cTn id="10" fill="hold">
                      <p:stCondLst>
                        <p:cond delay="indefinite"/>
                      </p:stCondLst>
                      <p:childTnLst>
                        <p:par>
                          <p:cTn id="11" fill="hold">
                            <p:stCondLst>
                              <p:cond delay="0"/>
                            </p:stCondLst>
                            <p:childTnLst>
                              <p:par>
                                <p:cTn id="12" presetID="22" presetClass="exit" presetSubtype="1" fill="hold" nodeType="clickEffect">
                                  <p:stCondLst>
                                    <p:cond delay="0"/>
                                  </p:stCondLst>
                                  <p:childTnLst>
                                    <p:animEffect transition="out" filter="wipe(up)">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5"/>
                                        </p:tgtEl>
                                      </p:cBhvr>
                                      <p:by x="0" y="0"/>
                                    </p:animScale>
                                  </p:childTnLst>
                                </p:cTn>
                              </p:par>
                              <p:par>
                                <p:cTn id="24" presetID="42" presetClass="path" presetSubtype="0" decel="100000" fill="hold" nodeType="withEffect">
                                  <p:stCondLst>
                                    <p:cond delay="500"/>
                                  </p:stCondLst>
                                  <p:childTnLst>
                                    <p:animMotion origin="layout" path="M -0.13544 0.00068 L 1.05693E-6 1.42079E-6 " pathEditMode="relative" rAng="0" ptsTypes="AA">
                                      <p:cBhvr>
                                        <p:cTn id="25" dur="500" fill="hold"/>
                                        <p:tgtEl>
                                          <p:spTgt spid="5"/>
                                        </p:tgtEl>
                                        <p:attrNameLst>
                                          <p:attrName>ppt_x</p:attrName>
                                          <p:attrName>ppt_y</p:attrName>
                                        </p:attrNameLst>
                                      </p:cBhvr>
                                      <p:rCtr x="6765" y="-45"/>
                                    </p:animMotion>
                                  </p:childTnLst>
                                </p:cTn>
                              </p:par>
                              <p:par>
                                <p:cTn id="26" presetID="1"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500" fill="hold"/>
                                        <p:tgtEl>
                                          <p:spTgt spid="19"/>
                                        </p:tgtEl>
                                      </p:cBhvr>
                                      <p:by x="0" y="0"/>
                                    </p:animScale>
                                  </p:childTnLst>
                                </p:cTn>
                              </p:par>
                              <p:par>
                                <p:cTn id="30" presetID="42" presetClass="path" presetSubtype="0" decel="100000" fill="hold" nodeType="withEffect">
                                  <p:stCondLst>
                                    <p:cond delay="500"/>
                                  </p:stCondLst>
                                  <p:childTnLst>
                                    <p:animMotion origin="layout" path="M 0.13544 0.00091 L -9.446E-7 -2.10168E-6 " pathEditMode="relative" rAng="0" ptsTypes="AA">
                                      <p:cBhvr>
                                        <p:cTn id="31" dur="500" fill="hold"/>
                                        <p:tgtEl>
                                          <p:spTgt spid="19"/>
                                        </p:tgtEl>
                                        <p:attrNameLst>
                                          <p:attrName>ppt_x</p:attrName>
                                          <p:attrName>ppt_y</p:attrName>
                                        </p:attrNameLst>
                                      </p:cBhvr>
                                      <p:rCtr x="-6778"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1E495-D27E-4E10-B26F-F61A46F8AA0D}"/>
              </a:ext>
            </a:extLst>
          </p:cNvPr>
          <p:cNvSpPr>
            <a:spLocks noGrp="1"/>
          </p:cNvSpPr>
          <p:nvPr>
            <p:ph type="title"/>
          </p:nvPr>
        </p:nvSpPr>
        <p:spPr>
          <a:xfrm>
            <a:off x="67560" y="618843"/>
            <a:ext cx="4530702" cy="899409"/>
          </a:xfrm>
        </p:spPr>
        <p:txBody>
          <a:bodyPr/>
          <a:lstStyle/>
          <a:p>
            <a:r>
              <a:rPr lang="en-US"/>
              <a:t>Logic Apps</a:t>
            </a:r>
          </a:p>
        </p:txBody>
      </p:sp>
      <p:sp>
        <p:nvSpPr>
          <p:cNvPr id="3" name="Text Placeholder 2">
            <a:extLst>
              <a:ext uri="{FF2B5EF4-FFF2-40B4-BE49-F238E27FC236}">
                <a16:creationId xmlns:a16="http://schemas.microsoft.com/office/drawing/2014/main" id="{10F88617-353A-4519-AE34-57C154626AE5}"/>
              </a:ext>
            </a:extLst>
          </p:cNvPr>
          <p:cNvSpPr>
            <a:spLocks noGrp="1"/>
          </p:cNvSpPr>
          <p:nvPr>
            <p:ph type="body" sz="quarter" idx="10"/>
          </p:nvPr>
        </p:nvSpPr>
        <p:spPr>
          <a:xfrm>
            <a:off x="195377" y="2084554"/>
            <a:ext cx="4697823" cy="4055202"/>
          </a:xfrm>
        </p:spPr>
        <p:txBody>
          <a:bodyPr/>
          <a:lstStyle/>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Connect on-premises, hybrid </a:t>
            </a:r>
            <a:br>
              <a:rPr lang="en-US" sz="2745" spc="-29">
                <a:solidFill>
                  <a:schemeClr val="tx1"/>
                </a:solidFill>
                <a:latin typeface="Segoe UI Semilight" panose="020B0402040204020203" pitchFamily="34" charset="0"/>
                <a:cs typeface="Segoe UI Semilight" panose="020B0402040204020203" pitchFamily="34" charset="0"/>
              </a:rPr>
            </a:br>
            <a:r>
              <a:rPr lang="en-US" sz="2745" spc="-29">
                <a:solidFill>
                  <a:schemeClr val="tx1"/>
                </a:solidFill>
                <a:latin typeface="Segoe UI Semilight" panose="020B0402040204020203" pitchFamily="34" charset="0"/>
                <a:cs typeface="Segoe UI Semilight" panose="020B0402040204020203" pitchFamily="34" charset="0"/>
              </a:rPr>
              <a:t>and cloud applications </a:t>
            </a:r>
          </a:p>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Run mission-critical, complex integration scenarios with ease </a:t>
            </a:r>
          </a:p>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Build “Smart” Integrations leveraging Machine Learning/Cognitive Services</a:t>
            </a:r>
          </a:p>
        </p:txBody>
      </p:sp>
      <p:sp>
        <p:nvSpPr>
          <p:cNvPr id="7" name="Rectangle 6">
            <a:extLst>
              <a:ext uri="{FF2B5EF4-FFF2-40B4-BE49-F238E27FC236}">
                <a16:creationId xmlns:a16="http://schemas.microsoft.com/office/drawing/2014/main" id="{3CFCBB3A-9D0F-4BCF-AC3F-81D1FE4DD7A5}"/>
              </a:ext>
            </a:extLst>
          </p:cNvPr>
          <p:cNvSpPr/>
          <p:nvPr/>
        </p:nvSpPr>
        <p:spPr bwMode="auto">
          <a:xfrm>
            <a:off x="4930825" y="-9934"/>
            <a:ext cx="7387840" cy="6866963"/>
          </a:xfrm>
          <a:prstGeom prst="rect">
            <a:avLst/>
          </a:prstGeom>
          <a:solidFill>
            <a:schemeClr val="bg1"/>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0BAE44AC-4307-462A-853A-DC82AEE10871}"/>
              </a:ext>
            </a:extLst>
          </p:cNvPr>
          <p:cNvCxnSpPr/>
          <p:nvPr/>
        </p:nvCxnSpPr>
        <p:spPr>
          <a:xfrm flipV="1">
            <a:off x="8599324" y="2697546"/>
            <a:ext cx="0" cy="782283"/>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07" name="Group 106">
            <a:extLst>
              <a:ext uri="{FF2B5EF4-FFF2-40B4-BE49-F238E27FC236}">
                <a16:creationId xmlns:a16="http://schemas.microsoft.com/office/drawing/2014/main" id="{5BE2A946-8037-44CE-90B2-64D19CA2664E}"/>
              </a:ext>
            </a:extLst>
          </p:cNvPr>
          <p:cNvGrpSpPr/>
          <p:nvPr/>
        </p:nvGrpSpPr>
        <p:grpSpPr>
          <a:xfrm>
            <a:off x="7831257" y="3664777"/>
            <a:ext cx="1658698" cy="874059"/>
            <a:chOff x="7649759" y="3473718"/>
            <a:chExt cx="1692678" cy="891968"/>
          </a:xfrm>
        </p:grpSpPr>
        <p:sp>
          <p:nvSpPr>
            <p:cNvPr id="108" name="TextBox 107">
              <a:extLst>
                <a:ext uri="{FF2B5EF4-FFF2-40B4-BE49-F238E27FC236}">
                  <a16:creationId xmlns:a16="http://schemas.microsoft.com/office/drawing/2014/main" id="{565F3E60-B0E8-4075-88B3-570E375B4C47}"/>
                </a:ext>
              </a:extLst>
            </p:cNvPr>
            <p:cNvSpPr txBox="1"/>
            <p:nvPr/>
          </p:nvSpPr>
          <p:spPr>
            <a:xfrm>
              <a:off x="7649759" y="3978710"/>
              <a:ext cx="1692678" cy="386976"/>
            </a:xfrm>
            <a:prstGeom prst="rect">
              <a:avLst/>
            </a:prstGeom>
            <a:noFill/>
          </p:spPr>
          <p:txBody>
            <a:bodyPr wrap="square" lIns="0" tIns="0" rIns="0" bIns="0" rtlCol="0">
              <a:spAutoFit/>
            </a:bodyPr>
            <a:lstStyle/>
            <a:p>
              <a:pPr algn="ct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On-premises data gateway</a:t>
              </a:r>
            </a:p>
          </p:txBody>
        </p:sp>
        <p:grpSp>
          <p:nvGrpSpPr>
            <p:cNvPr id="109" name="Group 108">
              <a:extLst>
                <a:ext uri="{FF2B5EF4-FFF2-40B4-BE49-F238E27FC236}">
                  <a16:creationId xmlns:a16="http://schemas.microsoft.com/office/drawing/2014/main" id="{E0320D25-8956-4A6C-8E7C-EAFE88CF58A4}"/>
                </a:ext>
              </a:extLst>
            </p:cNvPr>
            <p:cNvGrpSpPr/>
            <p:nvPr/>
          </p:nvGrpSpPr>
          <p:grpSpPr>
            <a:xfrm>
              <a:off x="8213450" y="3473718"/>
              <a:ext cx="556534" cy="447498"/>
              <a:chOff x="8134076" y="3465305"/>
              <a:chExt cx="556534" cy="447498"/>
            </a:xfrm>
          </p:grpSpPr>
          <p:sp>
            <p:nvSpPr>
              <p:cNvPr id="110" name="Freeform 128">
                <a:extLst>
                  <a:ext uri="{FF2B5EF4-FFF2-40B4-BE49-F238E27FC236}">
                    <a16:creationId xmlns:a16="http://schemas.microsoft.com/office/drawing/2014/main" id="{D04E130F-73CA-43E8-9A76-554D6BD42F43}"/>
                  </a:ext>
                </a:extLst>
              </p:cNvPr>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p:spPr>
            <p:txBody>
              <a:bodyPr vert="horz" wrap="square" lIns="89604" tIns="44802" rIns="89604" bIns="44802" numCol="1" anchor="t" anchorCtr="0" compatLnSpc="1">
                <a:prstTxWarp prst="textNoShape">
                  <a:avLst/>
                </a:prstTxWarp>
              </a:bodyPr>
              <a:lstStyle/>
              <a:p>
                <a:pPr defTabSz="895947">
                  <a:defRPr/>
                </a:pPr>
                <a:endParaRPr lang="en-US" sz="1766" kern="0">
                  <a:solidFill>
                    <a:srgbClr val="FFFFFF"/>
                  </a:solidFill>
                  <a:latin typeface="Segoe UI Semilight"/>
                </a:endParaRPr>
              </a:p>
            </p:txBody>
          </p:sp>
          <p:sp>
            <p:nvSpPr>
              <p:cNvPr id="111" name="Rectangle 110">
                <a:extLst>
                  <a:ext uri="{FF2B5EF4-FFF2-40B4-BE49-F238E27FC236}">
                    <a16:creationId xmlns:a16="http://schemas.microsoft.com/office/drawing/2014/main" id="{CD8F4580-EA75-411C-B21A-42901E3DF18F}"/>
                  </a:ext>
                </a:extLst>
              </p:cNvPr>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9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4724F2BD-D95A-4FBA-B92B-23F83A8B044B}"/>
                  </a:ext>
                </a:extLst>
              </p:cNvPr>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113" name="Group 112">
            <a:extLst>
              <a:ext uri="{FF2B5EF4-FFF2-40B4-BE49-F238E27FC236}">
                <a16:creationId xmlns:a16="http://schemas.microsoft.com/office/drawing/2014/main" id="{DA6B8E32-F0E8-4A3D-B2ED-CC2B31DA2B70}"/>
              </a:ext>
            </a:extLst>
          </p:cNvPr>
          <p:cNvGrpSpPr/>
          <p:nvPr/>
        </p:nvGrpSpPr>
        <p:grpSpPr>
          <a:xfrm>
            <a:off x="6748232" y="577113"/>
            <a:ext cx="1469343" cy="2958150"/>
            <a:chOff x="6491421" y="881592"/>
            <a:chExt cx="1552569" cy="2684511"/>
          </a:xfrm>
        </p:grpSpPr>
        <p:cxnSp>
          <p:nvCxnSpPr>
            <p:cNvPr id="114" name="Straight Connector 113">
              <a:extLst>
                <a:ext uri="{FF2B5EF4-FFF2-40B4-BE49-F238E27FC236}">
                  <a16:creationId xmlns:a16="http://schemas.microsoft.com/office/drawing/2014/main" id="{B3D2D67F-F1FB-47AC-8A98-B407D68515FD}"/>
                </a:ext>
              </a:extLst>
            </p:cNvPr>
            <p:cNvCxnSpPr/>
            <p:nvPr/>
          </p:nvCxnSpPr>
          <p:spPr>
            <a:xfrm flipV="1">
              <a:off x="7245322" y="881592"/>
              <a:ext cx="15216" cy="2684511"/>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5" name="Straight Connector 114">
              <a:extLst>
                <a:ext uri="{FF2B5EF4-FFF2-40B4-BE49-F238E27FC236}">
                  <a16:creationId xmlns:a16="http://schemas.microsoft.com/office/drawing/2014/main" id="{5A19254A-144E-42AD-805F-8C0DBAD6919E}"/>
                </a:ext>
              </a:extLst>
            </p:cNvPr>
            <p:cNvCxnSpPr/>
            <p:nvPr/>
          </p:nvCxnSpPr>
          <p:spPr>
            <a:xfrm flipH="1">
              <a:off x="6505756" y="88159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6" name="Straight Connector 115">
              <a:extLst>
                <a:ext uri="{FF2B5EF4-FFF2-40B4-BE49-F238E27FC236}">
                  <a16:creationId xmlns:a16="http://schemas.microsoft.com/office/drawing/2014/main" id="{7ED8DC18-47D6-4C47-8EFA-15405CA70D94}"/>
                </a:ext>
              </a:extLst>
            </p:cNvPr>
            <p:cNvCxnSpPr/>
            <p:nvPr/>
          </p:nvCxnSpPr>
          <p:spPr>
            <a:xfrm flipH="1">
              <a:off x="6505756" y="17446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7" name="Straight Connector 116">
              <a:extLst>
                <a:ext uri="{FF2B5EF4-FFF2-40B4-BE49-F238E27FC236}">
                  <a16:creationId xmlns:a16="http://schemas.microsoft.com/office/drawing/2014/main" id="{A83FE50D-B9EC-4680-95E5-1A1FB0BA8C83}"/>
                </a:ext>
              </a:extLst>
            </p:cNvPr>
            <p:cNvCxnSpPr/>
            <p:nvPr/>
          </p:nvCxnSpPr>
          <p:spPr>
            <a:xfrm flipH="1">
              <a:off x="6491421" y="27352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8" name="Straight Connector 117">
              <a:extLst>
                <a:ext uri="{FF2B5EF4-FFF2-40B4-BE49-F238E27FC236}">
                  <a16:creationId xmlns:a16="http://schemas.microsoft.com/office/drawing/2014/main" id="{E16472ED-29CB-4052-B2CF-CEE89D54A9C1}"/>
                </a:ext>
              </a:extLst>
            </p:cNvPr>
            <p:cNvCxnSpPr/>
            <p:nvPr/>
          </p:nvCxnSpPr>
          <p:spPr>
            <a:xfrm flipH="1">
              <a:off x="6491421" y="3566099"/>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9" name="Straight Connector 118">
              <a:extLst>
                <a:ext uri="{FF2B5EF4-FFF2-40B4-BE49-F238E27FC236}">
                  <a16:creationId xmlns:a16="http://schemas.microsoft.com/office/drawing/2014/main" id="{8268AAFF-9D24-4792-B678-9B0B40C5BC5F}"/>
                </a:ext>
              </a:extLst>
            </p:cNvPr>
            <p:cNvCxnSpPr/>
            <p:nvPr/>
          </p:nvCxnSpPr>
          <p:spPr>
            <a:xfrm flipH="1">
              <a:off x="7274873" y="2227262"/>
              <a:ext cx="769117"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20" name="Group 119">
            <a:extLst>
              <a:ext uri="{FF2B5EF4-FFF2-40B4-BE49-F238E27FC236}">
                <a16:creationId xmlns:a16="http://schemas.microsoft.com/office/drawing/2014/main" id="{834F93C8-891A-47F5-97EC-27E0026A921E}"/>
              </a:ext>
            </a:extLst>
          </p:cNvPr>
          <p:cNvGrpSpPr/>
          <p:nvPr/>
        </p:nvGrpSpPr>
        <p:grpSpPr>
          <a:xfrm>
            <a:off x="5495178" y="4629015"/>
            <a:ext cx="5201946" cy="1438376"/>
            <a:chOff x="5608637" y="4721857"/>
            <a:chExt cx="5308514" cy="1467843"/>
          </a:xfrm>
        </p:grpSpPr>
        <p:grpSp>
          <p:nvGrpSpPr>
            <p:cNvPr id="121" name="Group 120">
              <a:extLst>
                <a:ext uri="{FF2B5EF4-FFF2-40B4-BE49-F238E27FC236}">
                  <a16:creationId xmlns:a16="http://schemas.microsoft.com/office/drawing/2014/main" id="{8C6DBC69-721C-48F2-80CF-D72459CBBD4C}"/>
                </a:ext>
              </a:extLst>
            </p:cNvPr>
            <p:cNvGrpSpPr/>
            <p:nvPr/>
          </p:nvGrpSpPr>
          <p:grpSpPr>
            <a:xfrm>
              <a:off x="6388013" y="4721857"/>
              <a:ext cx="4529138" cy="863601"/>
              <a:chOff x="6184899" y="4457700"/>
              <a:chExt cx="4529138" cy="863601"/>
            </a:xfrm>
          </p:grpSpPr>
          <p:cxnSp>
            <p:nvCxnSpPr>
              <p:cNvPr id="127" name="Straight Connector 126">
                <a:extLst>
                  <a:ext uri="{FF2B5EF4-FFF2-40B4-BE49-F238E27FC236}">
                    <a16:creationId xmlns:a16="http://schemas.microsoft.com/office/drawing/2014/main" id="{87C5C8DC-9256-486A-A649-B1A34EDB4152}"/>
                  </a:ext>
                </a:extLst>
              </p:cNvPr>
              <p:cNvCxnSpPr/>
              <p:nvPr/>
            </p:nvCxnSpPr>
            <p:spPr>
              <a:xfrm flipV="1">
                <a:off x="8605923" y="4457700"/>
                <a:ext cx="0" cy="857826"/>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28" name="Straight Connector 127">
                <a:extLst>
                  <a:ext uri="{FF2B5EF4-FFF2-40B4-BE49-F238E27FC236}">
                    <a16:creationId xmlns:a16="http://schemas.microsoft.com/office/drawing/2014/main" id="{CA42542D-DF38-4720-9AA4-4E322CD4E1B8}"/>
                  </a:ext>
                </a:extLst>
              </p:cNvPr>
              <p:cNvCxnSpPr/>
              <p:nvPr/>
            </p:nvCxnSpPr>
            <p:spPr>
              <a:xfrm>
                <a:off x="6184899" y="4678362"/>
                <a:ext cx="2329949"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29" name="Straight Connector 128">
                <a:extLst>
                  <a:ext uri="{FF2B5EF4-FFF2-40B4-BE49-F238E27FC236}">
                    <a16:creationId xmlns:a16="http://schemas.microsoft.com/office/drawing/2014/main" id="{19FE79B4-04B2-461D-9EC2-2540D418548A}"/>
                  </a:ext>
                </a:extLst>
              </p:cNvPr>
              <p:cNvCxnSpPr/>
              <p:nvPr/>
            </p:nvCxnSpPr>
            <p:spPr>
              <a:xfrm flipV="1">
                <a:off x="6197599" y="4675445"/>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0" name="Straight Connector 129">
                <a:extLst>
                  <a:ext uri="{FF2B5EF4-FFF2-40B4-BE49-F238E27FC236}">
                    <a16:creationId xmlns:a16="http://schemas.microsoft.com/office/drawing/2014/main" id="{B258234C-0896-4B50-8636-F422D5F911C8}"/>
                  </a:ext>
                </a:extLst>
              </p:cNvPr>
              <p:cNvCxnSpPr/>
              <p:nvPr/>
            </p:nvCxnSpPr>
            <p:spPr>
              <a:xfrm flipV="1">
                <a:off x="7893949" y="4673570"/>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1" name="Straight Connector 130">
                <a:extLst>
                  <a:ext uri="{FF2B5EF4-FFF2-40B4-BE49-F238E27FC236}">
                    <a16:creationId xmlns:a16="http://schemas.microsoft.com/office/drawing/2014/main" id="{E320B5BE-9CA2-4F4D-AEB3-43BA4EF30679}"/>
                  </a:ext>
                </a:extLst>
              </p:cNvPr>
              <p:cNvCxnSpPr/>
              <p:nvPr/>
            </p:nvCxnSpPr>
            <p:spPr>
              <a:xfrm flipV="1">
                <a:off x="10705633" y="4681221"/>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2" name="Straight Connector 131">
                <a:extLst>
                  <a:ext uri="{FF2B5EF4-FFF2-40B4-BE49-F238E27FC236}">
                    <a16:creationId xmlns:a16="http://schemas.microsoft.com/office/drawing/2014/main" id="{32D575F5-629F-4BC8-92AC-0E247A3EE45D}"/>
                  </a:ext>
                </a:extLst>
              </p:cNvPr>
              <p:cNvCxnSpPr/>
              <p:nvPr/>
            </p:nvCxnSpPr>
            <p:spPr>
              <a:xfrm>
                <a:off x="8440231" y="4678362"/>
                <a:ext cx="2273806"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3" name="Straight Connector 132">
                <a:extLst>
                  <a:ext uri="{FF2B5EF4-FFF2-40B4-BE49-F238E27FC236}">
                    <a16:creationId xmlns:a16="http://schemas.microsoft.com/office/drawing/2014/main" id="{752857A8-A4BF-4B7F-AE92-9A5C357E6618}"/>
                  </a:ext>
                </a:extLst>
              </p:cNvPr>
              <p:cNvCxnSpPr/>
              <p:nvPr/>
            </p:nvCxnSpPr>
            <p:spPr>
              <a:xfrm flipV="1">
                <a:off x="7108156" y="4681221"/>
                <a:ext cx="0" cy="64008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22" name="Group 121">
              <a:extLst>
                <a:ext uri="{FF2B5EF4-FFF2-40B4-BE49-F238E27FC236}">
                  <a16:creationId xmlns:a16="http://schemas.microsoft.com/office/drawing/2014/main" id="{68B217A1-C2A7-4B2A-A056-843B1EBFB238}"/>
                </a:ext>
              </a:extLst>
            </p:cNvPr>
            <p:cNvGrpSpPr/>
            <p:nvPr/>
          </p:nvGrpSpPr>
          <p:grpSpPr>
            <a:xfrm>
              <a:off x="5608637" y="5678136"/>
              <a:ext cx="3429000" cy="511564"/>
              <a:chOff x="5608637" y="5678136"/>
              <a:chExt cx="3429000" cy="511564"/>
            </a:xfrm>
          </p:grpSpPr>
          <p:grpSp>
            <p:nvGrpSpPr>
              <p:cNvPr id="123" name="Group 122">
                <a:extLst>
                  <a:ext uri="{FF2B5EF4-FFF2-40B4-BE49-F238E27FC236}">
                    <a16:creationId xmlns:a16="http://schemas.microsoft.com/office/drawing/2014/main" id="{FC71324E-0997-40AD-9B7C-CF974741B69D}"/>
                  </a:ext>
                </a:extLst>
              </p:cNvPr>
              <p:cNvGrpSpPr/>
              <p:nvPr/>
            </p:nvGrpSpPr>
            <p:grpSpPr>
              <a:xfrm>
                <a:off x="5608637" y="5678136"/>
                <a:ext cx="3429000" cy="393511"/>
                <a:chOff x="5405523" y="5413979"/>
                <a:chExt cx="3429000" cy="393511"/>
              </a:xfrm>
            </p:grpSpPr>
            <p:sp>
              <p:nvSpPr>
                <p:cNvPr id="125" name="Freeform 5">
                  <a:extLst>
                    <a:ext uri="{FF2B5EF4-FFF2-40B4-BE49-F238E27FC236}">
                      <a16:creationId xmlns:a16="http://schemas.microsoft.com/office/drawing/2014/main" id="{4C3E3C36-CF54-48B0-B0E9-EF9069BD28D8}"/>
                    </a:ext>
                  </a:extLst>
                </p:cNvPr>
                <p:cNvSpPr>
                  <a:spLocks noChangeAspect="1" noEditPoints="1"/>
                </p:cNvSpPr>
                <p:nvPr/>
              </p:nvSpPr>
              <p:spPr bwMode="black">
                <a:xfrm>
                  <a:off x="5405523" y="5495294"/>
                  <a:ext cx="1259212"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p:spPr>
              <p:txBody>
                <a:bodyPr vert="horz" wrap="square" lIns="87842" tIns="43921" rIns="87842" bIns="439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51">
                    <a:defRPr/>
                  </a:pPr>
                  <a:endParaRPr lang="en-US" sz="1728" kern="0">
                    <a:solidFill>
                      <a:srgbClr val="505050"/>
                    </a:solidFill>
                    <a:latin typeface="Segoe UI Semilight"/>
                  </a:endParaRPr>
                </a:p>
              </p:txBody>
            </p:sp>
            <p:pic>
              <p:nvPicPr>
                <p:cNvPr id="126" name="Picture 125">
                  <a:extLst>
                    <a:ext uri="{FF2B5EF4-FFF2-40B4-BE49-F238E27FC236}">
                      <a16:creationId xmlns:a16="http://schemas.microsoft.com/office/drawing/2014/main" id="{331BBB89-ACD3-44A9-B74E-3201B55BFBDB}"/>
                    </a:ext>
                  </a:extLst>
                </p:cNvPr>
                <p:cNvPicPr>
                  <a:picLocks noChangeAspect="1"/>
                </p:cNvPicPr>
                <p:nvPr/>
              </p:nvPicPr>
              <p:blipFill>
                <a:blip r:embed="rId3">
                  <a:duotone>
                    <a:srgbClr val="0078D7">
                      <a:shade val="45000"/>
                      <a:satMod val="135000"/>
                    </a:srgbClr>
                    <a:prstClr val="white"/>
                  </a:duotone>
                </a:blip>
                <a:stretch>
                  <a:fillRect/>
                </a:stretch>
              </p:blipFill>
              <p:spPr>
                <a:xfrm>
                  <a:off x="8441012" y="5413979"/>
                  <a:ext cx="393511" cy="393511"/>
                </a:xfrm>
                <a:prstGeom prst="rect">
                  <a:avLst/>
                </a:prstGeom>
              </p:spPr>
            </p:pic>
          </p:grpSp>
          <p:pic>
            <p:nvPicPr>
              <p:cNvPr id="124" name="Picture 123">
                <a:extLst>
                  <a:ext uri="{FF2B5EF4-FFF2-40B4-BE49-F238E27FC236}">
                    <a16:creationId xmlns:a16="http://schemas.microsoft.com/office/drawing/2014/main" id="{58AE2521-CACE-4BCE-8BB8-6BF0DF48E306}"/>
                  </a:ext>
                </a:extLst>
              </p:cNvPr>
              <p:cNvPicPr>
                <a:picLocks noChangeAspect="1"/>
              </p:cNvPicPr>
              <p:nvPr/>
            </p:nvPicPr>
            <p:blipFill>
              <a:blip r:embed="rId4"/>
              <a:stretch>
                <a:fillRect/>
              </a:stretch>
            </p:blipFill>
            <p:spPr>
              <a:xfrm>
                <a:off x="7868463" y="5705188"/>
                <a:ext cx="484512" cy="484512"/>
              </a:xfrm>
              <a:prstGeom prst="rect">
                <a:avLst/>
              </a:prstGeom>
            </p:spPr>
          </p:pic>
        </p:grpSp>
      </p:grpSp>
      <p:sp>
        <p:nvSpPr>
          <p:cNvPr id="134" name="TextBox 133">
            <a:extLst>
              <a:ext uri="{FF2B5EF4-FFF2-40B4-BE49-F238E27FC236}">
                <a16:creationId xmlns:a16="http://schemas.microsoft.com/office/drawing/2014/main" id="{955A13FB-3597-427E-B012-8D39701FE9A1}"/>
              </a:ext>
            </a:extLst>
          </p:cNvPr>
          <p:cNvSpPr txBox="1"/>
          <p:nvPr/>
        </p:nvSpPr>
        <p:spPr>
          <a:xfrm>
            <a:off x="8017144" y="2163689"/>
            <a:ext cx="1219708" cy="479441"/>
          </a:xfrm>
          <a:prstGeom prst="rect">
            <a:avLst/>
          </a:prstGeom>
          <a:noFill/>
        </p:spPr>
        <p:txBody>
          <a:bodyPr wrap="none" lIns="179208" tIns="143366" rIns="179208" bIns="143366" rtlCol="0">
            <a:spAutoFit/>
          </a:bodyPr>
          <a:lstStyle/>
          <a:p>
            <a:pP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Logic Apps</a:t>
            </a:r>
          </a:p>
        </p:txBody>
      </p:sp>
      <p:grpSp>
        <p:nvGrpSpPr>
          <p:cNvPr id="135" name="Group 134">
            <a:extLst>
              <a:ext uri="{FF2B5EF4-FFF2-40B4-BE49-F238E27FC236}">
                <a16:creationId xmlns:a16="http://schemas.microsoft.com/office/drawing/2014/main" id="{26688A2A-20AF-40F0-8826-58D14138816D}"/>
              </a:ext>
            </a:extLst>
          </p:cNvPr>
          <p:cNvGrpSpPr/>
          <p:nvPr/>
        </p:nvGrpSpPr>
        <p:grpSpPr>
          <a:xfrm>
            <a:off x="5206874" y="571417"/>
            <a:ext cx="1752928" cy="2606499"/>
            <a:chOff x="5252238" y="1163115"/>
            <a:chExt cx="1788839" cy="2659897"/>
          </a:xfrm>
        </p:grpSpPr>
        <p:grpSp>
          <p:nvGrpSpPr>
            <p:cNvPr id="136" name="Group 135">
              <a:extLst>
                <a:ext uri="{FF2B5EF4-FFF2-40B4-BE49-F238E27FC236}">
                  <a16:creationId xmlns:a16="http://schemas.microsoft.com/office/drawing/2014/main" id="{791D7F34-D9E7-477B-A947-AE596AF20276}"/>
                </a:ext>
              </a:extLst>
            </p:cNvPr>
            <p:cNvGrpSpPr/>
            <p:nvPr/>
          </p:nvGrpSpPr>
          <p:grpSpPr>
            <a:xfrm>
              <a:off x="5252238" y="1163115"/>
              <a:ext cx="1788839" cy="2659897"/>
              <a:chOff x="5023638" y="765778"/>
              <a:chExt cx="1788839" cy="2659897"/>
            </a:xfrm>
          </p:grpSpPr>
          <p:grpSp>
            <p:nvGrpSpPr>
              <p:cNvPr id="138" name="Group 137">
                <a:extLst>
                  <a:ext uri="{FF2B5EF4-FFF2-40B4-BE49-F238E27FC236}">
                    <a16:creationId xmlns:a16="http://schemas.microsoft.com/office/drawing/2014/main" id="{D00F04B3-8D46-4338-9D4F-E752E92246FF}"/>
                  </a:ext>
                </a:extLst>
              </p:cNvPr>
              <p:cNvGrpSpPr/>
              <p:nvPr/>
            </p:nvGrpSpPr>
            <p:grpSpPr>
              <a:xfrm>
                <a:off x="5023638" y="1783788"/>
                <a:ext cx="1788839" cy="966977"/>
                <a:chOff x="5192285" y="4009780"/>
                <a:chExt cx="1788839" cy="966977"/>
              </a:xfrm>
            </p:grpSpPr>
            <p:sp>
              <p:nvSpPr>
                <p:cNvPr id="144" name="TextBox 143">
                  <a:extLst>
                    <a:ext uri="{FF2B5EF4-FFF2-40B4-BE49-F238E27FC236}">
                      <a16:creationId xmlns:a16="http://schemas.microsoft.com/office/drawing/2014/main" id="{D15B529D-93AB-45FE-B44C-FCDBF55041DC}"/>
                    </a:ext>
                  </a:extLst>
                </p:cNvPr>
                <p:cNvSpPr txBox="1"/>
                <p:nvPr/>
              </p:nvSpPr>
              <p:spPr>
                <a:xfrm>
                  <a:off x="5192285" y="4483739"/>
                  <a:ext cx="1788839" cy="493018"/>
                </a:xfrm>
                <a:prstGeom prst="rect">
                  <a:avLst/>
                </a:prstGeom>
                <a:noFill/>
              </p:spPr>
              <p:txBody>
                <a:bodyPr wrap="none" lIns="179208" tIns="143366" rIns="179208" bIns="143366" rtlCol="0">
                  <a:spAutoFit/>
                </a:bodyPr>
                <a:lstStyle/>
                <a:p>
                  <a:pP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Cognitive Services</a:t>
                  </a:r>
                </a:p>
              </p:txBody>
            </p:sp>
            <p:pic>
              <p:nvPicPr>
                <p:cNvPr id="145" name="Picture 144">
                  <a:extLst>
                    <a:ext uri="{FF2B5EF4-FFF2-40B4-BE49-F238E27FC236}">
                      <a16:creationId xmlns:a16="http://schemas.microsoft.com/office/drawing/2014/main" id="{7BC70EC6-DC08-4727-9940-A20390C30B60}"/>
                    </a:ext>
                  </a:extLst>
                </p:cNvPr>
                <p:cNvPicPr>
                  <a:picLocks noChangeAspect="1"/>
                </p:cNvPicPr>
                <p:nvPr/>
              </p:nvPicPr>
              <p:blipFill>
                <a:blip r:embed="rId5"/>
                <a:stretch>
                  <a:fillRect/>
                </a:stretch>
              </p:blipFill>
              <p:spPr>
                <a:xfrm>
                  <a:off x="5678645" y="4009780"/>
                  <a:ext cx="657314" cy="657314"/>
                </a:xfrm>
                <a:prstGeom prst="rect">
                  <a:avLst/>
                </a:prstGeom>
              </p:spPr>
            </p:pic>
          </p:grpSp>
          <p:sp>
            <p:nvSpPr>
              <p:cNvPr id="139" name="TextBox 138">
                <a:extLst>
                  <a:ext uri="{FF2B5EF4-FFF2-40B4-BE49-F238E27FC236}">
                    <a16:creationId xmlns:a16="http://schemas.microsoft.com/office/drawing/2014/main" id="{3A144048-8A65-4A3E-B576-C47629372896}"/>
                  </a:ext>
                </a:extLst>
              </p:cNvPr>
              <p:cNvSpPr txBox="1"/>
              <p:nvPr/>
            </p:nvSpPr>
            <p:spPr>
              <a:xfrm>
                <a:off x="5142980" y="1633234"/>
                <a:ext cx="127663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Service Bus</a:t>
                </a:r>
              </a:p>
            </p:txBody>
          </p:sp>
          <p:grpSp>
            <p:nvGrpSpPr>
              <p:cNvPr id="140" name="Group 139">
                <a:extLst>
                  <a:ext uri="{FF2B5EF4-FFF2-40B4-BE49-F238E27FC236}">
                    <a16:creationId xmlns:a16="http://schemas.microsoft.com/office/drawing/2014/main" id="{B169E79D-FEC8-4BDD-87E1-B76E2EB4374F}"/>
                  </a:ext>
                </a:extLst>
              </p:cNvPr>
              <p:cNvGrpSpPr/>
              <p:nvPr/>
            </p:nvGrpSpPr>
            <p:grpSpPr>
              <a:xfrm>
                <a:off x="5176317" y="2771808"/>
                <a:ext cx="1457312" cy="653867"/>
                <a:chOff x="5266776" y="2678003"/>
                <a:chExt cx="1457312" cy="653867"/>
              </a:xfrm>
            </p:grpSpPr>
            <p:sp>
              <p:nvSpPr>
                <p:cNvPr id="142" name="TextBox 141">
                  <a:extLst>
                    <a:ext uri="{FF2B5EF4-FFF2-40B4-BE49-F238E27FC236}">
                      <a16:creationId xmlns:a16="http://schemas.microsoft.com/office/drawing/2014/main" id="{0DA377DA-315A-4F6D-B202-B445D2A6B382}"/>
                    </a:ext>
                  </a:extLst>
                </p:cNvPr>
                <p:cNvSpPr txBox="1"/>
                <p:nvPr/>
              </p:nvSpPr>
              <p:spPr>
                <a:xfrm>
                  <a:off x="5266776" y="3138382"/>
                  <a:ext cx="145731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Machine Learning </a:t>
                  </a:r>
                </a:p>
              </p:txBody>
            </p:sp>
            <p:pic>
              <p:nvPicPr>
                <p:cNvPr id="143" name="Picture 142">
                  <a:extLst>
                    <a:ext uri="{FF2B5EF4-FFF2-40B4-BE49-F238E27FC236}">
                      <a16:creationId xmlns:a16="http://schemas.microsoft.com/office/drawing/2014/main" id="{5E096DA7-7829-416F-BCDE-EC98216E8B57}"/>
                    </a:ext>
                  </a:extLst>
                </p:cNvPr>
                <p:cNvPicPr>
                  <a:picLocks noChangeAspect="1"/>
                </p:cNvPicPr>
                <p:nvPr/>
              </p:nvPicPr>
              <p:blipFill>
                <a:blip r:embed="rId6"/>
                <a:stretch>
                  <a:fillRect/>
                </a:stretch>
              </p:blipFill>
              <p:spPr>
                <a:xfrm>
                  <a:off x="5751674" y="2678003"/>
                  <a:ext cx="382988" cy="382988"/>
                </a:xfrm>
                <a:prstGeom prst="rect">
                  <a:avLst/>
                </a:prstGeom>
              </p:spPr>
            </p:pic>
          </p:grpSp>
          <p:sp>
            <p:nvSpPr>
              <p:cNvPr id="141" name="TextBox 140">
                <a:extLst>
                  <a:ext uri="{FF2B5EF4-FFF2-40B4-BE49-F238E27FC236}">
                    <a16:creationId xmlns:a16="http://schemas.microsoft.com/office/drawing/2014/main" id="{7ECB394A-A270-45F2-9D84-4D20DEA52FF7}"/>
                  </a:ext>
                </a:extLst>
              </p:cNvPr>
              <p:cNvSpPr txBox="1"/>
              <p:nvPr/>
            </p:nvSpPr>
            <p:spPr>
              <a:xfrm>
                <a:off x="5126014" y="765778"/>
                <a:ext cx="127663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Azure Functions</a:t>
                </a:r>
              </a:p>
            </p:txBody>
          </p:sp>
        </p:grpSp>
        <p:pic>
          <p:nvPicPr>
            <p:cNvPr id="137" name="Picture 136">
              <a:extLst>
                <a:ext uri="{FF2B5EF4-FFF2-40B4-BE49-F238E27FC236}">
                  <a16:creationId xmlns:a16="http://schemas.microsoft.com/office/drawing/2014/main" id="{16FCD1E1-A996-45F0-861F-DE9AD610812A}"/>
                </a:ext>
              </a:extLst>
            </p:cNvPr>
            <p:cNvPicPr>
              <a:picLocks noChangeAspect="1"/>
            </p:cNvPicPr>
            <p:nvPr/>
          </p:nvPicPr>
          <p:blipFill>
            <a:blip r:embed="rId7"/>
            <a:stretch>
              <a:fillRect/>
            </a:stretch>
          </p:blipFill>
          <p:spPr>
            <a:xfrm>
              <a:off x="5861820" y="1492387"/>
              <a:ext cx="460795" cy="460795"/>
            </a:xfrm>
            <a:prstGeom prst="rect">
              <a:avLst/>
            </a:prstGeom>
          </p:spPr>
        </p:pic>
      </p:grpSp>
      <p:grpSp>
        <p:nvGrpSpPr>
          <p:cNvPr id="146" name="Group 145">
            <a:extLst>
              <a:ext uri="{FF2B5EF4-FFF2-40B4-BE49-F238E27FC236}">
                <a16:creationId xmlns:a16="http://schemas.microsoft.com/office/drawing/2014/main" id="{90B0D520-EA21-448C-AC15-256A94E4ED4F}"/>
              </a:ext>
            </a:extLst>
          </p:cNvPr>
          <p:cNvGrpSpPr/>
          <p:nvPr/>
        </p:nvGrpSpPr>
        <p:grpSpPr>
          <a:xfrm>
            <a:off x="9010848" y="385886"/>
            <a:ext cx="2976305" cy="2854595"/>
            <a:chOff x="9056629" y="391804"/>
            <a:chExt cx="3037277" cy="2913076"/>
          </a:xfrm>
        </p:grpSpPr>
        <p:cxnSp>
          <p:nvCxnSpPr>
            <p:cNvPr id="148" name="Straight Connector 147">
              <a:extLst>
                <a:ext uri="{FF2B5EF4-FFF2-40B4-BE49-F238E27FC236}">
                  <a16:creationId xmlns:a16="http://schemas.microsoft.com/office/drawing/2014/main" id="{134E7F71-30A1-4E3B-B7C0-DC46D671C568}"/>
                </a:ext>
              </a:extLst>
            </p:cNvPr>
            <p:cNvCxnSpPr/>
            <p:nvPr/>
          </p:nvCxnSpPr>
          <p:spPr>
            <a:xfrm flipH="1" flipV="1">
              <a:off x="9866092" y="3158178"/>
              <a:ext cx="744952" cy="1"/>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49" name="Group 148">
              <a:extLst>
                <a:ext uri="{FF2B5EF4-FFF2-40B4-BE49-F238E27FC236}">
                  <a16:creationId xmlns:a16="http://schemas.microsoft.com/office/drawing/2014/main" id="{0AB7B7A4-2631-4150-9A51-E83127FB415E}"/>
                </a:ext>
              </a:extLst>
            </p:cNvPr>
            <p:cNvGrpSpPr/>
            <p:nvPr/>
          </p:nvGrpSpPr>
          <p:grpSpPr>
            <a:xfrm>
              <a:off x="9056629" y="391804"/>
              <a:ext cx="3037277" cy="2913076"/>
              <a:chOff x="9024219" y="930596"/>
              <a:chExt cx="3037277" cy="2913076"/>
            </a:xfrm>
          </p:grpSpPr>
          <p:grpSp>
            <p:nvGrpSpPr>
              <p:cNvPr id="151" name="Group 150">
                <a:extLst>
                  <a:ext uri="{FF2B5EF4-FFF2-40B4-BE49-F238E27FC236}">
                    <a16:creationId xmlns:a16="http://schemas.microsoft.com/office/drawing/2014/main" id="{066C3A5C-ADA7-43AC-9573-9B7AE6E8AD63}"/>
                  </a:ext>
                </a:extLst>
              </p:cNvPr>
              <p:cNvGrpSpPr/>
              <p:nvPr/>
            </p:nvGrpSpPr>
            <p:grpSpPr>
              <a:xfrm>
                <a:off x="9812122" y="930596"/>
                <a:ext cx="2249374" cy="2913076"/>
                <a:chOff x="9812122" y="930596"/>
                <a:chExt cx="2249374" cy="2913076"/>
              </a:xfrm>
            </p:grpSpPr>
            <p:grpSp>
              <p:nvGrpSpPr>
                <p:cNvPr id="153" name="Group 152">
                  <a:extLst>
                    <a:ext uri="{FF2B5EF4-FFF2-40B4-BE49-F238E27FC236}">
                      <a16:creationId xmlns:a16="http://schemas.microsoft.com/office/drawing/2014/main" id="{E8328E27-9B5A-421B-BF4D-15280BF91D25}"/>
                    </a:ext>
                  </a:extLst>
                </p:cNvPr>
                <p:cNvGrpSpPr/>
                <p:nvPr/>
              </p:nvGrpSpPr>
              <p:grpSpPr>
                <a:xfrm>
                  <a:off x="9812122" y="1232400"/>
                  <a:ext cx="769117" cy="2477270"/>
                  <a:chOff x="9626968" y="1409292"/>
                  <a:chExt cx="769117" cy="2477270"/>
                </a:xfrm>
              </p:grpSpPr>
              <p:cxnSp>
                <p:nvCxnSpPr>
                  <p:cNvPr id="159" name="Straight Connector 158">
                    <a:extLst>
                      <a:ext uri="{FF2B5EF4-FFF2-40B4-BE49-F238E27FC236}">
                        <a16:creationId xmlns:a16="http://schemas.microsoft.com/office/drawing/2014/main" id="{DF0246C2-90D0-4D0B-A5B9-BE3C00FF3401}"/>
                      </a:ext>
                    </a:extLst>
                  </p:cNvPr>
                  <p:cNvCxnSpPr>
                    <a:cxnSpLocks/>
                  </p:cNvCxnSpPr>
                  <p:nvPr/>
                </p:nvCxnSpPr>
                <p:spPr>
                  <a:xfrm flipV="1">
                    <a:off x="9651977" y="2038399"/>
                    <a:ext cx="690737" cy="1"/>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0" name="Straight Connector 159">
                    <a:extLst>
                      <a:ext uri="{FF2B5EF4-FFF2-40B4-BE49-F238E27FC236}">
                        <a16:creationId xmlns:a16="http://schemas.microsoft.com/office/drawing/2014/main" id="{0B3A98A3-EE61-4440-A5B1-75598C0CB720}"/>
                      </a:ext>
                    </a:extLst>
                  </p:cNvPr>
                  <p:cNvCxnSpPr/>
                  <p:nvPr/>
                </p:nvCxnSpPr>
                <p:spPr>
                  <a:xfrm>
                    <a:off x="9645330" y="1409292"/>
                    <a:ext cx="0" cy="247727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1" name="Straight Connector 160">
                    <a:extLst>
                      <a:ext uri="{FF2B5EF4-FFF2-40B4-BE49-F238E27FC236}">
                        <a16:creationId xmlns:a16="http://schemas.microsoft.com/office/drawing/2014/main" id="{7D2DA004-3BA5-4DCA-97BC-BA3F0178DF97}"/>
                      </a:ext>
                    </a:extLst>
                  </p:cNvPr>
                  <p:cNvCxnSpPr/>
                  <p:nvPr/>
                </p:nvCxnSpPr>
                <p:spPr>
                  <a:xfrm flipH="1">
                    <a:off x="9626968" y="140929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2" name="Straight Connector 161">
                    <a:extLst>
                      <a:ext uri="{FF2B5EF4-FFF2-40B4-BE49-F238E27FC236}">
                        <a16:creationId xmlns:a16="http://schemas.microsoft.com/office/drawing/2014/main" id="{F3A60ECA-5FC9-480D-AAF0-7FC95B9E07E7}"/>
                      </a:ext>
                    </a:extLst>
                  </p:cNvPr>
                  <p:cNvCxnSpPr/>
                  <p:nvPr/>
                </p:nvCxnSpPr>
                <p:spPr>
                  <a:xfrm flipH="1">
                    <a:off x="9626968" y="2480575"/>
                    <a:ext cx="769116"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54" name="Group 153">
                  <a:extLst>
                    <a:ext uri="{FF2B5EF4-FFF2-40B4-BE49-F238E27FC236}">
                      <a16:creationId xmlns:a16="http://schemas.microsoft.com/office/drawing/2014/main" id="{6DCF142B-44D7-49CE-A217-51EA9CB225ED}"/>
                    </a:ext>
                  </a:extLst>
                </p:cNvPr>
                <p:cNvGrpSpPr/>
                <p:nvPr/>
              </p:nvGrpSpPr>
              <p:grpSpPr>
                <a:xfrm>
                  <a:off x="10613495" y="930596"/>
                  <a:ext cx="1448001" cy="2913076"/>
                  <a:chOff x="10631455" y="1333710"/>
                  <a:chExt cx="1448001" cy="2913076"/>
                </a:xfrm>
              </p:grpSpPr>
              <p:grpSp>
                <p:nvGrpSpPr>
                  <p:cNvPr id="155" name="Group 154">
                    <a:extLst>
                      <a:ext uri="{FF2B5EF4-FFF2-40B4-BE49-F238E27FC236}">
                        <a16:creationId xmlns:a16="http://schemas.microsoft.com/office/drawing/2014/main" id="{C56AB1A3-28E9-488E-96F9-42071A2221F6}"/>
                      </a:ext>
                    </a:extLst>
                  </p:cNvPr>
                  <p:cNvGrpSpPr/>
                  <p:nvPr/>
                </p:nvGrpSpPr>
                <p:grpSpPr>
                  <a:xfrm>
                    <a:off x="10631455" y="1805272"/>
                    <a:ext cx="1448001" cy="2441514"/>
                    <a:chOff x="10428341" y="1541115"/>
                    <a:chExt cx="1448001" cy="2441514"/>
                  </a:xfrm>
                </p:grpSpPr>
                <p:pic>
                  <p:nvPicPr>
                    <p:cNvPr id="157" name="Picture 156">
                      <a:extLst>
                        <a:ext uri="{FF2B5EF4-FFF2-40B4-BE49-F238E27FC236}">
                          <a16:creationId xmlns:a16="http://schemas.microsoft.com/office/drawing/2014/main" id="{8D9F7CDF-7BC5-4E8C-BCFF-9DEF7347AA94}"/>
                        </a:ext>
                      </a:extLst>
                    </p:cNvPr>
                    <p:cNvPicPr>
                      <a:picLocks noChangeAspect="1"/>
                    </p:cNvPicPr>
                    <p:nvPr/>
                  </p:nvPicPr>
                  <p:blipFill>
                    <a:blip r:embed="rId8"/>
                    <a:stretch>
                      <a:fillRect/>
                    </a:stretch>
                  </p:blipFill>
                  <p:spPr>
                    <a:xfrm>
                      <a:off x="10615401" y="3609519"/>
                      <a:ext cx="681038" cy="373110"/>
                    </a:xfrm>
                    <a:prstGeom prst="rect">
                      <a:avLst/>
                    </a:prstGeom>
                  </p:spPr>
                </p:pic>
                <p:pic>
                  <p:nvPicPr>
                    <p:cNvPr id="158" name="Picture 157">
                      <a:extLst>
                        <a:ext uri="{FF2B5EF4-FFF2-40B4-BE49-F238E27FC236}">
                          <a16:creationId xmlns:a16="http://schemas.microsoft.com/office/drawing/2014/main" id="{9682099D-E2E9-4925-A933-746F9161A452}"/>
                        </a:ext>
                      </a:extLst>
                    </p:cNvPr>
                    <p:cNvPicPr>
                      <a:picLocks noChangeAspect="1"/>
                    </p:cNvPicPr>
                    <p:nvPr/>
                  </p:nvPicPr>
                  <p:blipFill>
                    <a:blip r:embed="rId9">
                      <a:duotone>
                        <a:srgbClr val="0078D7">
                          <a:shade val="45000"/>
                          <a:satMod val="135000"/>
                        </a:srgbClr>
                        <a:prstClr val="white"/>
                      </a:duotone>
                      <a:extLst>
                        <a:ext uri="{BEBA8EAE-BF5A-486C-A8C5-ECC9F3942E4B}">
                          <a14:imgProps xmlns:a14="http://schemas.microsoft.com/office/drawing/2010/main">
                            <a14:imgLayer r:embed="rId10">
                              <a14:imgEffect>
                                <a14:colorTemperature colorTemp="7200"/>
                              </a14:imgEffect>
                              <a14:imgEffect>
                                <a14:saturation sat="234000"/>
                              </a14:imgEffect>
                            </a14:imgLayer>
                          </a14:imgProps>
                        </a:ext>
                      </a:extLst>
                    </a:blip>
                    <a:stretch>
                      <a:fillRect/>
                    </a:stretch>
                  </p:blipFill>
                  <p:spPr>
                    <a:xfrm>
                      <a:off x="10428341" y="1541115"/>
                      <a:ext cx="1448001" cy="943848"/>
                    </a:xfrm>
                    <a:prstGeom prst="rect">
                      <a:avLst/>
                    </a:prstGeom>
                    <a:noFill/>
                  </p:spPr>
                </p:pic>
              </p:grpSp>
              <p:pic>
                <p:nvPicPr>
                  <p:cNvPr id="156" name="Picture 155">
                    <a:extLst>
                      <a:ext uri="{FF2B5EF4-FFF2-40B4-BE49-F238E27FC236}">
                        <a16:creationId xmlns:a16="http://schemas.microsoft.com/office/drawing/2014/main" id="{581B5F38-7EFD-497A-95C4-BBF881ED8FA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808416" y="1333710"/>
                    <a:ext cx="673820" cy="673820"/>
                  </a:xfrm>
                  <a:prstGeom prst="rect">
                    <a:avLst/>
                  </a:prstGeom>
                </p:spPr>
              </p:pic>
            </p:grpSp>
          </p:grpSp>
          <p:cxnSp>
            <p:nvCxnSpPr>
              <p:cNvPr id="152" name="Straight Connector 151">
                <a:extLst>
                  <a:ext uri="{FF2B5EF4-FFF2-40B4-BE49-F238E27FC236}">
                    <a16:creationId xmlns:a16="http://schemas.microsoft.com/office/drawing/2014/main" id="{703CE7DB-7EEC-4F1E-AF6D-2BF97FA2855E}"/>
                  </a:ext>
                </a:extLst>
              </p:cNvPr>
              <p:cNvCxnSpPr/>
              <p:nvPr/>
            </p:nvCxnSpPr>
            <p:spPr>
              <a:xfrm>
                <a:off x="9024219" y="2476342"/>
                <a:ext cx="806265" cy="0"/>
              </a:xfrm>
              <a:prstGeom prst="line">
                <a:avLst/>
              </a:prstGeom>
              <a:noFill/>
              <a:ln w="38100" cap="flat" cmpd="sng" algn="ctr">
                <a:solidFill>
                  <a:srgbClr val="353535">
                    <a:lumMod val="40000"/>
                    <a:lumOff val="60000"/>
                  </a:srgbClr>
                </a:solidFill>
                <a:prstDash val="solid"/>
                <a:headEnd type="none"/>
                <a:tailEnd type="none"/>
              </a:ln>
              <a:effectLst/>
            </p:spPr>
          </p:cxnSp>
        </p:grpSp>
        <p:cxnSp>
          <p:nvCxnSpPr>
            <p:cNvPr id="150" name="Straight Connector 149">
              <a:extLst>
                <a:ext uri="{FF2B5EF4-FFF2-40B4-BE49-F238E27FC236}">
                  <a16:creationId xmlns:a16="http://schemas.microsoft.com/office/drawing/2014/main" id="{1C69806F-51DE-4069-8586-4BDF66D7A796}"/>
                </a:ext>
              </a:extLst>
            </p:cNvPr>
            <p:cNvCxnSpPr/>
            <p:nvPr/>
          </p:nvCxnSpPr>
          <p:spPr>
            <a:xfrm flipH="1" flipV="1">
              <a:off x="9885281" y="2428560"/>
              <a:ext cx="744952" cy="1"/>
            </a:xfrm>
            <a:prstGeom prst="line">
              <a:avLst/>
            </a:prstGeom>
            <a:noFill/>
            <a:ln w="38100" cap="flat" cmpd="sng" algn="ctr">
              <a:solidFill>
                <a:srgbClr val="353535">
                  <a:lumMod val="40000"/>
                  <a:lumOff val="60000"/>
                </a:srgbClr>
              </a:solidFill>
              <a:prstDash val="solid"/>
              <a:headEnd type="none"/>
              <a:tailEnd type="none"/>
            </a:ln>
            <a:effectLst/>
          </p:spPr>
        </p:cxnSp>
      </p:grpSp>
      <p:pic>
        <p:nvPicPr>
          <p:cNvPr id="163" name="Picture 162">
            <a:extLst>
              <a:ext uri="{FF2B5EF4-FFF2-40B4-BE49-F238E27FC236}">
                <a16:creationId xmlns:a16="http://schemas.microsoft.com/office/drawing/2014/main" id="{1EDC222D-85A0-499C-8A3C-6344F208660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80373" y="1623116"/>
            <a:ext cx="701917" cy="701917"/>
          </a:xfrm>
          <a:prstGeom prst="rect">
            <a:avLst/>
          </a:prstGeom>
        </p:spPr>
      </p:pic>
      <p:pic>
        <p:nvPicPr>
          <p:cNvPr id="164" name="Picture 4" descr="Image result for salesforce logo">
            <a:extLst>
              <a:ext uri="{FF2B5EF4-FFF2-40B4-BE49-F238E27FC236}">
                <a16:creationId xmlns:a16="http://schemas.microsoft.com/office/drawing/2014/main" id="{DEA7DBFA-F483-42BE-83C2-2CF02AC3D62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63"/>
          <a:stretch/>
        </p:blipFill>
        <p:spPr bwMode="auto">
          <a:xfrm>
            <a:off x="10686016" y="2250490"/>
            <a:ext cx="798383" cy="550240"/>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657FACD3-08CB-4A67-81AA-C437D7577BAE}"/>
              </a:ext>
            </a:extLst>
          </p:cNvPr>
          <p:cNvPicPr>
            <a:picLocks noChangeAspect="1"/>
          </p:cNvPicPr>
          <p:nvPr/>
        </p:nvPicPr>
        <p:blipFill>
          <a:blip r:embed="rId14"/>
          <a:stretch>
            <a:fillRect/>
          </a:stretch>
        </p:blipFill>
        <p:spPr>
          <a:xfrm>
            <a:off x="6925801" y="5612268"/>
            <a:ext cx="670304" cy="341696"/>
          </a:xfrm>
          <a:prstGeom prst="rect">
            <a:avLst/>
          </a:prstGeom>
        </p:spPr>
      </p:pic>
      <p:sp>
        <p:nvSpPr>
          <p:cNvPr id="166" name="TextBox 165">
            <a:extLst>
              <a:ext uri="{FF2B5EF4-FFF2-40B4-BE49-F238E27FC236}">
                <a16:creationId xmlns:a16="http://schemas.microsoft.com/office/drawing/2014/main" id="{686DE66B-6154-4EF1-9044-73D71CB9E31C}"/>
              </a:ext>
            </a:extLst>
          </p:cNvPr>
          <p:cNvSpPr txBox="1"/>
          <p:nvPr/>
        </p:nvSpPr>
        <p:spPr>
          <a:xfrm>
            <a:off x="10534058" y="6067392"/>
            <a:ext cx="461453" cy="276999"/>
          </a:xfrm>
          <a:prstGeom prst="rect">
            <a:avLst/>
          </a:prstGeom>
          <a:noFill/>
        </p:spPr>
        <p:txBody>
          <a:bodyPr wrap="square" lIns="0" tIns="0" rIns="0" bIns="0" rtlCol="0">
            <a:spAutoFit/>
          </a:bodyPr>
          <a:lstStyle/>
          <a:p>
            <a:pPr defTabSz="913813">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grpSp>
        <p:nvGrpSpPr>
          <p:cNvPr id="167" name="Group 166">
            <a:extLst>
              <a:ext uri="{FF2B5EF4-FFF2-40B4-BE49-F238E27FC236}">
                <a16:creationId xmlns:a16="http://schemas.microsoft.com/office/drawing/2014/main" id="{96FBF2B1-564F-4219-A70C-B4613FFCE564}"/>
              </a:ext>
            </a:extLst>
          </p:cNvPr>
          <p:cNvGrpSpPr/>
          <p:nvPr/>
        </p:nvGrpSpPr>
        <p:grpSpPr>
          <a:xfrm>
            <a:off x="9259129" y="5484425"/>
            <a:ext cx="2691755" cy="959260"/>
            <a:chOff x="9188038" y="4908551"/>
            <a:chExt cx="2608676" cy="959805"/>
          </a:xfrm>
        </p:grpSpPr>
        <p:pic>
          <p:nvPicPr>
            <p:cNvPr id="168" name="Picture 167">
              <a:extLst>
                <a:ext uri="{FF2B5EF4-FFF2-40B4-BE49-F238E27FC236}">
                  <a16:creationId xmlns:a16="http://schemas.microsoft.com/office/drawing/2014/main" id="{3AEC09AB-C066-48E6-81FB-CFD6EDA695A3}"/>
                </a:ext>
              </a:extLst>
            </p:cNvPr>
            <p:cNvPicPr>
              <a:picLocks noChangeAspect="1"/>
            </p:cNvPicPr>
            <p:nvPr/>
          </p:nvPicPr>
          <p:blipFill>
            <a:blip r:embed="rId15"/>
            <a:stretch>
              <a:fillRect/>
            </a:stretch>
          </p:blipFill>
          <p:spPr>
            <a:xfrm>
              <a:off x="9536698" y="5636481"/>
              <a:ext cx="597320" cy="150544"/>
            </a:xfrm>
            <a:prstGeom prst="rect">
              <a:avLst/>
            </a:prstGeom>
          </p:spPr>
        </p:pic>
        <p:pic>
          <p:nvPicPr>
            <p:cNvPr id="169" name="Picture 168">
              <a:extLst>
                <a:ext uri="{FF2B5EF4-FFF2-40B4-BE49-F238E27FC236}">
                  <a16:creationId xmlns:a16="http://schemas.microsoft.com/office/drawing/2014/main" id="{FA546420-1DC6-41F6-A158-5C2F383E5A33}"/>
                </a:ext>
              </a:extLst>
            </p:cNvPr>
            <p:cNvPicPr>
              <a:picLocks noChangeAspect="1"/>
            </p:cNvPicPr>
            <p:nvPr/>
          </p:nvPicPr>
          <p:blipFill>
            <a:blip r:embed="rId16"/>
            <a:stretch>
              <a:fillRect/>
            </a:stretch>
          </p:blipFill>
          <p:spPr>
            <a:xfrm>
              <a:off x="11073363" y="4984122"/>
              <a:ext cx="603851" cy="93762"/>
            </a:xfrm>
            <a:prstGeom prst="rect">
              <a:avLst/>
            </a:prstGeom>
          </p:spPr>
        </p:pic>
        <p:grpSp>
          <p:nvGrpSpPr>
            <p:cNvPr id="170" name="Group 169">
              <a:extLst>
                <a:ext uri="{FF2B5EF4-FFF2-40B4-BE49-F238E27FC236}">
                  <a16:creationId xmlns:a16="http://schemas.microsoft.com/office/drawing/2014/main" id="{F82B478E-B7BC-4198-A9D7-F67F2C4408A0}"/>
                </a:ext>
              </a:extLst>
            </p:cNvPr>
            <p:cNvGrpSpPr/>
            <p:nvPr/>
          </p:nvGrpSpPr>
          <p:grpSpPr>
            <a:xfrm>
              <a:off x="10176085" y="5139169"/>
              <a:ext cx="200019" cy="539806"/>
              <a:chOff x="7258847" y="5219926"/>
              <a:chExt cx="665292" cy="979277"/>
            </a:xfrm>
          </p:grpSpPr>
          <p:cxnSp>
            <p:nvCxnSpPr>
              <p:cNvPr id="176" name="Straight Connector 175">
                <a:extLst>
                  <a:ext uri="{FF2B5EF4-FFF2-40B4-BE49-F238E27FC236}">
                    <a16:creationId xmlns:a16="http://schemas.microsoft.com/office/drawing/2014/main" id="{E80D02F3-5C44-4A61-AED0-4F4B8F812614}"/>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77" name="Straight Connector 176">
                <a:extLst>
                  <a:ext uri="{FF2B5EF4-FFF2-40B4-BE49-F238E27FC236}">
                    <a16:creationId xmlns:a16="http://schemas.microsoft.com/office/drawing/2014/main" id="{04FE723A-A7B4-4213-8C9C-16341AE41825}"/>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171" name="Rectangle 170">
              <a:extLst>
                <a:ext uri="{FF2B5EF4-FFF2-40B4-BE49-F238E27FC236}">
                  <a16:creationId xmlns:a16="http://schemas.microsoft.com/office/drawing/2014/main" id="{D5924115-9E71-4909-8282-07F3FF44B383}"/>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p>
              <a:pPr algn="ctr" defTabSz="9318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Freeform 5">
              <a:extLst>
                <a:ext uri="{FF2B5EF4-FFF2-40B4-BE49-F238E27FC236}">
                  <a16:creationId xmlns:a16="http://schemas.microsoft.com/office/drawing/2014/main" id="{8D1E53A7-70F1-4089-A254-A8AA04A57CAA}"/>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388" tIns="45695" rIns="91388" bIns="45695" numCol="1" anchor="t" anchorCtr="0" compatLnSpc="1">
              <a:prstTxWarp prst="textNoShape">
                <a:avLst/>
              </a:prstTxWarp>
            </a:bodyPr>
            <a:lstStyle/>
            <a:p>
              <a:pPr defTabSz="932144">
                <a:defRPr/>
              </a:pPr>
              <a:endParaRPr lang="en-US" sz="1801" kern="0">
                <a:solidFill>
                  <a:srgbClr val="505050"/>
                </a:solidFill>
                <a:latin typeface="Segoe UI Semilight"/>
              </a:endParaRPr>
            </a:p>
          </p:txBody>
        </p:sp>
        <p:grpSp>
          <p:nvGrpSpPr>
            <p:cNvPr id="173" name="Group 172">
              <a:extLst>
                <a:ext uri="{FF2B5EF4-FFF2-40B4-BE49-F238E27FC236}">
                  <a16:creationId xmlns:a16="http://schemas.microsoft.com/office/drawing/2014/main" id="{7D65D551-1C5C-4039-97FA-67D06560987B}"/>
                </a:ext>
              </a:extLst>
            </p:cNvPr>
            <p:cNvGrpSpPr/>
            <p:nvPr/>
          </p:nvGrpSpPr>
          <p:grpSpPr>
            <a:xfrm flipH="1">
              <a:off x="10835114" y="5139169"/>
              <a:ext cx="200019" cy="539806"/>
              <a:chOff x="7367040" y="5219926"/>
              <a:chExt cx="665292" cy="979277"/>
            </a:xfrm>
          </p:grpSpPr>
          <p:cxnSp>
            <p:nvCxnSpPr>
              <p:cNvPr id="174" name="Straight Connector 173">
                <a:extLst>
                  <a:ext uri="{FF2B5EF4-FFF2-40B4-BE49-F238E27FC236}">
                    <a16:creationId xmlns:a16="http://schemas.microsoft.com/office/drawing/2014/main" id="{EADA1B95-4373-4FD0-97C3-7911E815719D}"/>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75" name="Straight Connector 174">
                <a:extLst>
                  <a:ext uri="{FF2B5EF4-FFF2-40B4-BE49-F238E27FC236}">
                    <a16:creationId xmlns:a16="http://schemas.microsoft.com/office/drawing/2014/main" id="{6719B37B-1187-43FD-BB90-3976AA10C9D9}"/>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178" name="Picture 16" descr="Image result for Tibco transparent">
            <a:extLst>
              <a:ext uri="{FF2B5EF4-FFF2-40B4-BE49-F238E27FC236}">
                <a16:creationId xmlns:a16="http://schemas.microsoft.com/office/drawing/2014/main" id="{1A9C553D-E0C7-40DE-B03F-23C60491012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233349" y="6205850"/>
            <a:ext cx="569468" cy="149984"/>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8" descr="Image result for jd edwards accounting software logo transparent">
            <a:extLst>
              <a:ext uri="{FF2B5EF4-FFF2-40B4-BE49-F238E27FC236}">
                <a16:creationId xmlns:a16="http://schemas.microsoft.com/office/drawing/2014/main" id="{9D173392-E598-4041-AAFC-D3A2385FDA9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205821" y="5487023"/>
            <a:ext cx="1280479" cy="37832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 descr="Image result for azure functions logo transparent">
            <a:extLst>
              <a:ext uri="{FF2B5EF4-FFF2-40B4-BE49-F238E27FC236}">
                <a16:creationId xmlns:a16="http://schemas.microsoft.com/office/drawing/2014/main" id="{7FAF97B7-D925-441E-9070-79F8EB7CD08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740045" y="62343"/>
            <a:ext cx="545420" cy="545420"/>
          </a:xfrm>
          <a:prstGeom prst="rect">
            <a:avLst/>
          </a:prstGeom>
          <a:noFill/>
          <a:extLst>
            <a:ext uri="{909E8E84-426E-40DD-AFC4-6F175D3DCCD1}">
              <a14:hiddenFill xmlns:a14="http://schemas.microsoft.com/office/drawing/2010/main">
                <a:solidFill>
                  <a:srgbClr val="FFFFFF"/>
                </a:solidFill>
              </a14:hiddenFill>
            </a:ext>
          </a:extLst>
        </p:spPr>
      </p:pic>
      <p:grpSp>
        <p:nvGrpSpPr>
          <p:cNvPr id="181" name="Group 180">
            <a:extLst>
              <a:ext uri="{FF2B5EF4-FFF2-40B4-BE49-F238E27FC236}">
                <a16:creationId xmlns:a16="http://schemas.microsoft.com/office/drawing/2014/main" id="{8BA96817-591B-49CA-90D0-5D810CC25B75}"/>
              </a:ext>
            </a:extLst>
          </p:cNvPr>
          <p:cNvGrpSpPr/>
          <p:nvPr/>
        </p:nvGrpSpPr>
        <p:grpSpPr>
          <a:xfrm>
            <a:off x="4986361" y="3261214"/>
            <a:ext cx="1978343" cy="792033"/>
            <a:chOff x="4790039" y="1362425"/>
            <a:chExt cx="1978905" cy="792257"/>
          </a:xfrm>
        </p:grpSpPr>
        <p:grpSp>
          <p:nvGrpSpPr>
            <p:cNvPr id="182" name="Group 181">
              <a:extLst>
                <a:ext uri="{FF2B5EF4-FFF2-40B4-BE49-F238E27FC236}">
                  <a16:creationId xmlns:a16="http://schemas.microsoft.com/office/drawing/2014/main" id="{61541BF4-8530-484C-83FA-71112EAAACA9}"/>
                </a:ext>
              </a:extLst>
            </p:cNvPr>
            <p:cNvGrpSpPr/>
            <p:nvPr/>
          </p:nvGrpSpPr>
          <p:grpSpPr>
            <a:xfrm>
              <a:off x="5097700" y="1362425"/>
              <a:ext cx="1671244" cy="792257"/>
              <a:chOff x="4220323" y="-1924831"/>
              <a:chExt cx="1671719" cy="792482"/>
            </a:xfrm>
          </p:grpSpPr>
          <p:sp>
            <p:nvSpPr>
              <p:cNvPr id="190" name="Rectangle 189">
                <a:extLst>
                  <a:ext uri="{FF2B5EF4-FFF2-40B4-BE49-F238E27FC236}">
                    <a16:creationId xmlns:a16="http://schemas.microsoft.com/office/drawing/2014/main" id="{EE94DD6D-60D0-4BA0-8012-4E6DC56D8524}"/>
                  </a:ext>
                </a:extLst>
              </p:cNvPr>
              <p:cNvSpPr/>
              <p:nvPr/>
            </p:nvSpPr>
            <p:spPr bwMode="auto">
              <a:xfrm>
                <a:off x="4220323" y="-1520111"/>
                <a:ext cx="1671719" cy="387762"/>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1695"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191" name="Picture 190">
                <a:extLst>
                  <a:ext uri="{FF2B5EF4-FFF2-40B4-BE49-F238E27FC236}">
                    <a16:creationId xmlns:a16="http://schemas.microsoft.com/office/drawing/2014/main" id="{D1C9A3DD-7B4F-4E87-886C-CF0724A8AC44}"/>
                  </a:ext>
                </a:extLst>
              </p:cNvPr>
              <p:cNvPicPr>
                <a:picLocks noChangeAspect="1"/>
              </p:cNvPicPr>
              <p:nvPr/>
            </p:nvPicPr>
            <p:blipFill>
              <a:blip r:embed="rId20"/>
              <a:stretch>
                <a:fillRect/>
              </a:stretch>
            </p:blipFill>
            <p:spPr>
              <a:xfrm>
                <a:off x="4835284" y="-1924831"/>
                <a:ext cx="456920" cy="456920"/>
              </a:xfrm>
              <a:prstGeom prst="rect">
                <a:avLst/>
              </a:prstGeom>
            </p:spPr>
          </p:pic>
        </p:grpSp>
        <p:cxnSp>
          <p:nvCxnSpPr>
            <p:cNvPr id="183" name="Straight Connector 182">
              <a:extLst>
                <a:ext uri="{FF2B5EF4-FFF2-40B4-BE49-F238E27FC236}">
                  <a16:creationId xmlns:a16="http://schemas.microsoft.com/office/drawing/2014/main" id="{5DDBCC15-A06D-466A-8735-28C299691E17}"/>
                </a:ext>
              </a:extLst>
            </p:cNvPr>
            <p:cNvCxnSpPr>
              <a:cxnSpLocks/>
            </p:cNvCxnSpPr>
            <p:nvPr/>
          </p:nvCxnSpPr>
          <p:spPr>
            <a:xfrm flipH="1">
              <a:off x="5042373" y="1590819"/>
              <a:ext cx="565755"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4" name="Straight Connector 183">
              <a:extLst>
                <a:ext uri="{FF2B5EF4-FFF2-40B4-BE49-F238E27FC236}">
                  <a16:creationId xmlns:a16="http://schemas.microsoft.com/office/drawing/2014/main" id="{9EB08D23-800B-417D-B6B6-A94E876DE719}"/>
                </a:ext>
              </a:extLst>
            </p:cNvPr>
            <p:cNvCxnSpPr/>
            <p:nvPr/>
          </p:nvCxnSpPr>
          <p:spPr>
            <a:xfrm flipV="1">
              <a:off x="5050895" y="1590819"/>
              <a:ext cx="0" cy="372205"/>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85" name="Group 184">
              <a:extLst>
                <a:ext uri="{FF2B5EF4-FFF2-40B4-BE49-F238E27FC236}">
                  <a16:creationId xmlns:a16="http://schemas.microsoft.com/office/drawing/2014/main" id="{026DAC53-E621-4E62-A0BF-07E84456A909}"/>
                </a:ext>
              </a:extLst>
            </p:cNvPr>
            <p:cNvGrpSpPr/>
            <p:nvPr/>
          </p:nvGrpSpPr>
          <p:grpSpPr>
            <a:xfrm>
              <a:off x="4790039" y="1984989"/>
              <a:ext cx="531049" cy="149571"/>
              <a:chOff x="4495651" y="3976197"/>
              <a:chExt cx="541698" cy="152570"/>
            </a:xfrm>
          </p:grpSpPr>
          <p:cxnSp>
            <p:nvCxnSpPr>
              <p:cNvPr id="186" name="Straight Connector 185">
                <a:extLst>
                  <a:ext uri="{FF2B5EF4-FFF2-40B4-BE49-F238E27FC236}">
                    <a16:creationId xmlns:a16="http://schemas.microsoft.com/office/drawing/2014/main" id="{F782A3CB-0048-42F6-A283-EAA16DEDC326}"/>
                  </a:ext>
                </a:extLst>
              </p:cNvPr>
              <p:cNvCxnSpPr/>
              <p:nvPr/>
            </p:nvCxnSpPr>
            <p:spPr>
              <a:xfrm flipH="1" flipV="1">
                <a:off x="4495651" y="3976197"/>
                <a:ext cx="541698" cy="3339"/>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7" name="Straight Connector 186">
                <a:extLst>
                  <a:ext uri="{FF2B5EF4-FFF2-40B4-BE49-F238E27FC236}">
                    <a16:creationId xmlns:a16="http://schemas.microsoft.com/office/drawing/2014/main" id="{1531C806-35BF-470B-9E0E-F282BACC57A1}"/>
                  </a:ext>
                </a:extLst>
              </p:cNvPr>
              <p:cNvCxnSpPr>
                <a:cxnSpLocks/>
              </p:cNvCxnSpPr>
              <p:nvPr/>
            </p:nvCxnSpPr>
            <p:spPr>
              <a:xfrm flipH="1">
                <a:off x="4589667" y="4023588"/>
                <a:ext cx="365744"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8" name="Straight Connector 187">
                <a:extLst>
                  <a:ext uri="{FF2B5EF4-FFF2-40B4-BE49-F238E27FC236}">
                    <a16:creationId xmlns:a16="http://schemas.microsoft.com/office/drawing/2014/main" id="{802CAD87-762D-4C34-AA4F-C4428EF07911}"/>
                  </a:ext>
                </a:extLst>
              </p:cNvPr>
              <p:cNvCxnSpPr/>
              <p:nvPr/>
            </p:nvCxnSpPr>
            <p:spPr>
              <a:xfrm flipH="1" flipV="1">
                <a:off x="4652610" y="4070708"/>
                <a:ext cx="236724" cy="5196"/>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9" name="Straight Connector 188">
                <a:extLst>
                  <a:ext uri="{FF2B5EF4-FFF2-40B4-BE49-F238E27FC236}">
                    <a16:creationId xmlns:a16="http://schemas.microsoft.com/office/drawing/2014/main" id="{F6A24A95-B06F-4283-8445-F2DF5A98F5B4}"/>
                  </a:ext>
                </a:extLst>
              </p:cNvPr>
              <p:cNvCxnSpPr/>
              <p:nvPr/>
            </p:nvCxnSpPr>
            <p:spPr>
              <a:xfrm flipH="1" flipV="1">
                <a:off x="4705496" y="4123571"/>
                <a:ext cx="119886" cy="5196"/>
              </a:xfrm>
              <a:prstGeom prst="line">
                <a:avLst/>
              </a:prstGeom>
              <a:noFill/>
              <a:ln w="38100" cap="flat" cmpd="sng" algn="ctr">
                <a:solidFill>
                  <a:srgbClr val="353535">
                    <a:lumMod val="40000"/>
                    <a:lumOff val="60000"/>
                  </a:srgbClr>
                </a:solidFill>
                <a:prstDash val="solid"/>
                <a:headEnd type="none"/>
                <a:tailEnd type="none"/>
              </a:ln>
              <a:effectLst/>
            </p:spPr>
          </p:cxnSp>
        </p:grpSp>
      </p:grpSp>
      <p:grpSp>
        <p:nvGrpSpPr>
          <p:cNvPr id="192" name="Group 191">
            <a:extLst>
              <a:ext uri="{FF2B5EF4-FFF2-40B4-BE49-F238E27FC236}">
                <a16:creationId xmlns:a16="http://schemas.microsoft.com/office/drawing/2014/main" id="{98124C8D-6C0D-4CE9-9C1B-07E266662EF2}"/>
              </a:ext>
            </a:extLst>
          </p:cNvPr>
          <p:cNvGrpSpPr/>
          <p:nvPr/>
        </p:nvGrpSpPr>
        <p:grpSpPr>
          <a:xfrm>
            <a:off x="11326690" y="975"/>
            <a:ext cx="1227610" cy="809242"/>
            <a:chOff x="782595" y="5485007"/>
            <a:chExt cx="1804086" cy="1508917"/>
          </a:xfrm>
        </p:grpSpPr>
        <p:sp>
          <p:nvSpPr>
            <p:cNvPr id="193" name="Thought Bubble: Cloud 192">
              <a:extLst>
                <a:ext uri="{FF2B5EF4-FFF2-40B4-BE49-F238E27FC236}">
                  <a16:creationId xmlns:a16="http://schemas.microsoft.com/office/drawing/2014/main" id="{967F5FDB-8E22-49DF-9BFB-E9AF062BD890}"/>
                </a:ext>
              </a:extLst>
            </p:cNvPr>
            <p:cNvSpPr/>
            <p:nvPr/>
          </p:nvSpPr>
          <p:spPr bwMode="auto">
            <a:xfrm>
              <a:off x="782595" y="5485007"/>
              <a:ext cx="1804086" cy="1508917"/>
            </a:xfrm>
            <a:prstGeom prst="cloudCallout">
              <a:avLst>
                <a:gd name="adj1" fmla="val -34075"/>
                <a:gd name="adj2" fmla="val 58132"/>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5439">
                      <a:srgbClr val="F8F8F8"/>
                    </a:gs>
                    <a:gs pos="10000">
                      <a:srgbClr val="F8F8F8"/>
                    </a:gs>
                  </a:gsLst>
                  <a:lin ang="5400000" scaled="0"/>
                </a:gradFill>
                <a:latin typeface="Segoe UI Semilight"/>
              </a:endParaRPr>
            </a:p>
          </p:txBody>
        </p:sp>
        <p:pic>
          <p:nvPicPr>
            <p:cNvPr id="194" name="Picture 4" descr="Image result for docusign logo">
              <a:extLst>
                <a:ext uri="{FF2B5EF4-FFF2-40B4-BE49-F238E27FC236}">
                  <a16:creationId xmlns:a16="http://schemas.microsoft.com/office/drawing/2014/main" id="{8FEADE1D-DC8A-4153-9051-FECBE46885B5}"/>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22366"/>
            <a:stretch/>
          </p:blipFill>
          <p:spPr bwMode="auto">
            <a:xfrm>
              <a:off x="1178757" y="6288963"/>
              <a:ext cx="569683" cy="155576"/>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 descr="Image result for dropbox logo transparent">
              <a:extLst>
                <a:ext uri="{FF2B5EF4-FFF2-40B4-BE49-F238E27FC236}">
                  <a16:creationId xmlns:a16="http://schemas.microsoft.com/office/drawing/2014/main" id="{E1055CC9-72E2-473C-B11A-F00FCE317B2F}"/>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93110" y="5883028"/>
              <a:ext cx="247197" cy="306748"/>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4" descr="Image result for Twilio logo transparent">
              <a:extLst>
                <a:ext uri="{FF2B5EF4-FFF2-40B4-BE49-F238E27FC236}">
                  <a16:creationId xmlns:a16="http://schemas.microsoft.com/office/drawing/2014/main" id="{505E310E-5086-4C2F-8E92-1263E055E32C}"/>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164587" y="6068139"/>
              <a:ext cx="582432" cy="17141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 descr="Image result for twitter logo transparent">
              <a:extLst>
                <a:ext uri="{FF2B5EF4-FFF2-40B4-BE49-F238E27FC236}">
                  <a16:creationId xmlns:a16="http://schemas.microsoft.com/office/drawing/2014/main" id="{6424517D-652D-4AF3-BFE8-0A8C18047179}"/>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684124" y="5885188"/>
              <a:ext cx="170002" cy="134468"/>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8" descr="Image result for Slack ! logo transparent">
              <a:extLst>
                <a:ext uri="{FF2B5EF4-FFF2-40B4-BE49-F238E27FC236}">
                  <a16:creationId xmlns:a16="http://schemas.microsoft.com/office/drawing/2014/main" id="{A1BF0D52-3663-4EA4-9E27-0081B794A57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98635" y="6333508"/>
              <a:ext cx="448995" cy="125247"/>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0" descr="Image result for Trello transparent small">
              <a:extLst>
                <a:ext uri="{FF2B5EF4-FFF2-40B4-BE49-F238E27FC236}">
                  <a16:creationId xmlns:a16="http://schemas.microsoft.com/office/drawing/2014/main" id="{002058C3-C40B-4D1F-8617-E1C59E3BD932}"/>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757829" y="6529966"/>
              <a:ext cx="517758" cy="155010"/>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2" descr="Image result for Eventbrite transparent small">
              <a:extLst>
                <a:ext uri="{FF2B5EF4-FFF2-40B4-BE49-F238E27FC236}">
                  <a16:creationId xmlns:a16="http://schemas.microsoft.com/office/drawing/2014/main" id="{A9D48D53-7407-47C2-8E9B-A1162D971ECD}"/>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274559" y="5675068"/>
              <a:ext cx="506521" cy="219292"/>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 descr="Image result for sharepoint online logo transparent">
              <a:extLst>
                <a:ext uri="{FF2B5EF4-FFF2-40B4-BE49-F238E27FC236}">
                  <a16:creationId xmlns:a16="http://schemas.microsoft.com/office/drawing/2014/main" id="{750D4FC9-27D5-4035-8388-74577A47271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178768" y="6593716"/>
              <a:ext cx="393934" cy="1428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2" name="Picture 201">
            <a:extLst>
              <a:ext uri="{FF2B5EF4-FFF2-40B4-BE49-F238E27FC236}">
                <a16:creationId xmlns:a16="http://schemas.microsoft.com/office/drawing/2014/main" id="{09E205E0-F944-4277-8B29-3753A59E9500}"/>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930825" y="-9934"/>
            <a:ext cx="552093" cy="502466"/>
          </a:xfrm>
          <a:prstGeom prst="rect">
            <a:avLst/>
          </a:prstGeom>
        </p:spPr>
      </p:pic>
      <p:pic>
        <p:nvPicPr>
          <p:cNvPr id="102" name="Picture 6" descr="Image result for dynamics logo">
            <a:extLst>
              <a:ext uri="{FF2B5EF4-FFF2-40B4-BE49-F238E27FC236}">
                <a16:creationId xmlns:a16="http://schemas.microsoft.com/office/drawing/2014/main" id="{105C9DD8-8E7A-4BD8-9F36-6C773FBDF246}"/>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619566" y="1491696"/>
            <a:ext cx="782356" cy="743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88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7"/>
                                        </p:tgtEl>
                                        <p:attrNameLst>
                                          <p:attrName>style.visibility</p:attrName>
                                        </p:attrNameLst>
                                      </p:cBhvr>
                                      <p:to>
                                        <p:strVal val="visible"/>
                                      </p:to>
                                    </p:set>
                                  </p:childTnLst>
                                </p:cTn>
                              </p:par>
                              <p:par>
                                <p:cTn id="13" presetID="53" presetClass="entr" presetSubtype="16" fill="hold" nodeType="withEffect">
                                  <p:stCondLst>
                                    <p:cond delay="0"/>
                                  </p:stCondLst>
                                  <p:childTnLst>
                                    <p:set>
                                      <p:cBhvr>
                                        <p:cTn id="14" dur="1" fill="hold">
                                          <p:stCondLst>
                                            <p:cond delay="0"/>
                                          </p:stCondLst>
                                        </p:cTn>
                                        <p:tgtEl>
                                          <p:spTgt spid="163"/>
                                        </p:tgtEl>
                                        <p:attrNameLst>
                                          <p:attrName>style.visibility</p:attrName>
                                        </p:attrNameLst>
                                      </p:cBhvr>
                                      <p:to>
                                        <p:strVal val="visible"/>
                                      </p:to>
                                    </p:set>
                                    <p:anim calcmode="lin" valueType="num">
                                      <p:cBhvr>
                                        <p:cTn id="15" dur="500" fill="hold"/>
                                        <p:tgtEl>
                                          <p:spTgt spid="163"/>
                                        </p:tgtEl>
                                        <p:attrNameLst>
                                          <p:attrName>ppt_w</p:attrName>
                                        </p:attrNameLst>
                                      </p:cBhvr>
                                      <p:tavLst>
                                        <p:tav tm="0">
                                          <p:val>
                                            <p:fltVal val="0"/>
                                          </p:val>
                                        </p:tav>
                                        <p:tav tm="100000">
                                          <p:val>
                                            <p:strVal val="#ppt_w"/>
                                          </p:val>
                                        </p:tav>
                                      </p:tavLst>
                                    </p:anim>
                                    <p:anim calcmode="lin" valueType="num">
                                      <p:cBhvr>
                                        <p:cTn id="16" dur="500" fill="hold"/>
                                        <p:tgtEl>
                                          <p:spTgt spid="163"/>
                                        </p:tgtEl>
                                        <p:attrNameLst>
                                          <p:attrName>ppt_h</p:attrName>
                                        </p:attrNameLst>
                                      </p:cBhvr>
                                      <p:tavLst>
                                        <p:tav tm="0">
                                          <p:val>
                                            <p:fltVal val="0"/>
                                          </p:val>
                                        </p:tav>
                                        <p:tav tm="100000">
                                          <p:val>
                                            <p:strVal val="#ppt_h"/>
                                          </p:val>
                                        </p:tav>
                                      </p:tavLst>
                                    </p:anim>
                                    <p:animEffect transition="in" filter="fade">
                                      <p:cBhvr>
                                        <p:cTn id="17" dur="500"/>
                                        <p:tgtEl>
                                          <p:spTgt spid="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387290371"/>
              </p:ext>
            </p:extLst>
          </p:nvPr>
        </p:nvGraphicFramePr>
        <p:xfrm>
          <a:off x="4353844" y="1893783"/>
          <a:ext cx="7356973" cy="28917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60 mins</a:t>
            </a:r>
          </a:p>
        </p:txBody>
      </p:sp>
      <p:sp>
        <p:nvSpPr>
          <p:cNvPr id="12" name="TextBox 11">
            <a:extLst>
              <a:ext uri="{FF2B5EF4-FFF2-40B4-BE49-F238E27FC236}">
                <a16:creationId xmlns:a16="http://schemas.microsoft.com/office/drawing/2014/main" id="{C6566FB6-BA5A-48D1-BBBF-E31056708F00}"/>
              </a:ext>
            </a:extLst>
          </p:cNvPr>
          <p:cNvSpPr txBox="1"/>
          <p:nvPr/>
        </p:nvSpPr>
        <p:spPr>
          <a:xfrm>
            <a:off x="973468" y="404601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Automation/RPA Engineer</a:t>
            </a:r>
          </a:p>
        </p:txBody>
      </p:sp>
      <p:pic>
        <p:nvPicPr>
          <p:cNvPr id="11" name="Picture 8" descr="Hat Icon - Download in Colored Outline Style">
            <a:extLst>
              <a:ext uri="{FF2B5EF4-FFF2-40B4-BE49-F238E27FC236}">
                <a16:creationId xmlns:a16="http://schemas.microsoft.com/office/drawing/2014/main" id="{0DD60695-34D8-4229-92DA-91933E4CE4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565" y="1622392"/>
            <a:ext cx="2608285" cy="260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5832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Cognitive search</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7212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471491" y="1096590"/>
          <a:ext cx="3922295" cy="2768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CAF4A1E6-A097-4D43-A9A3-7E88F778DCB7}"/>
              </a:ext>
            </a:extLst>
          </p:cNvPr>
          <p:cNvPicPr>
            <a:picLocks noChangeAspect="1"/>
          </p:cNvPicPr>
          <p:nvPr/>
        </p:nvPicPr>
        <p:blipFill>
          <a:blip r:embed="rId8">
            <a:duotone>
              <a:prstClr val="black"/>
              <a:schemeClr val="accent3">
                <a:tint val="45000"/>
                <a:satMod val="400000"/>
              </a:schemeClr>
            </a:duotone>
          </a:blip>
          <a:stretch>
            <a:fillRect/>
          </a:stretch>
        </p:blipFill>
        <p:spPr>
          <a:xfrm>
            <a:off x="5051050" y="1096590"/>
            <a:ext cx="6669459" cy="3197578"/>
          </a:xfrm>
          <a:prstGeom prst="rect">
            <a:avLst/>
          </a:prstGeom>
        </p:spPr>
      </p:pic>
      <p:pic>
        <p:nvPicPr>
          <p:cNvPr id="6" name="Picture 5">
            <a:extLst>
              <a:ext uri="{FF2B5EF4-FFF2-40B4-BE49-F238E27FC236}">
                <a16:creationId xmlns:a16="http://schemas.microsoft.com/office/drawing/2014/main" id="{59FC4FFC-BC82-4A1D-A617-D53147C69CEC}"/>
              </a:ext>
            </a:extLst>
          </p:cNvPr>
          <p:cNvPicPr>
            <a:picLocks noChangeAspect="1"/>
          </p:cNvPicPr>
          <p:nvPr/>
        </p:nvPicPr>
        <p:blipFill>
          <a:blip r:embed="rId9">
            <a:duotone>
              <a:prstClr val="black"/>
              <a:schemeClr val="accent3">
                <a:tint val="45000"/>
                <a:satMod val="400000"/>
              </a:schemeClr>
            </a:duotone>
          </a:blip>
          <a:stretch>
            <a:fillRect/>
          </a:stretch>
        </p:blipFill>
        <p:spPr>
          <a:xfrm>
            <a:off x="955812" y="4626205"/>
            <a:ext cx="8190476" cy="1523810"/>
          </a:xfrm>
          <a:prstGeom prst="rect">
            <a:avLst/>
          </a:prstGeom>
        </p:spPr>
      </p:pic>
    </p:spTree>
    <p:extLst>
      <p:ext uri="{BB962C8B-B14F-4D97-AF65-F5344CB8AC3E}">
        <p14:creationId xmlns:p14="http://schemas.microsoft.com/office/powerpoint/2010/main" val="2452883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0" dur="500"/>
                                        <p:tgtEl>
                                          <p:spTgt spid="3">
                                            <p:graphicEl>
                                              <a:dgm id="{A7501C3A-A857-4FF3-AF87-5EA1D32D2C24}"/>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471491" y="1096590"/>
          <a:ext cx="10924219" cy="2768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Indexer Stages">
            <a:extLst>
              <a:ext uri="{FF2B5EF4-FFF2-40B4-BE49-F238E27FC236}">
                <a16:creationId xmlns:a16="http://schemas.microsoft.com/office/drawing/2014/main" id="{62ABF823-3599-4DF0-A58F-802D1C800D71}"/>
              </a:ext>
            </a:extLst>
          </p:cNvPr>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478" y="4530394"/>
            <a:ext cx="7972425" cy="1104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39147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2" dur="500"/>
                                        <p:tgtEl>
                                          <p:spTgt spid="3">
                                            <p:graphicEl>
                                              <a:dgm id="{A7501C3A-A857-4FF3-AF87-5EA1D32D2C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5" name="Diagram 4">
            <a:extLst>
              <a:ext uri="{FF2B5EF4-FFF2-40B4-BE49-F238E27FC236}">
                <a16:creationId xmlns:a16="http://schemas.microsoft.com/office/drawing/2014/main" id="{D6E40BE3-FF69-454D-94D9-8E74B321CA77}"/>
              </a:ext>
            </a:extLst>
          </p:cNvPr>
          <p:cNvGraphicFramePr/>
          <p:nvPr/>
        </p:nvGraphicFramePr>
        <p:xfrm>
          <a:off x="493986" y="2270234"/>
          <a:ext cx="10962290" cy="4183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9218741B-66CA-40C4-8D03-94451C982906}"/>
              </a:ext>
            </a:extLst>
          </p:cNvPr>
          <p:cNvSpPr txBox="1"/>
          <p:nvPr/>
        </p:nvSpPr>
        <p:spPr>
          <a:xfrm>
            <a:off x="536026" y="1271750"/>
            <a:ext cx="10962290" cy="745958"/>
          </a:xfrm>
          <a:prstGeom prst="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a:outerShdw blurRad="50800" dist="38100" dir="18900000" algn="bl" rotWithShape="0">
              <a:prstClr val="black">
                <a:alpha val="40000"/>
              </a:prstClr>
            </a:outerShdw>
          </a:effectLst>
        </p:spPr>
        <p:txBody>
          <a:bodyPr spcFirstLastPara="0" vert="horz" wrap="square" lIns="91440" tIns="45720" rIns="91440" bIns="45720" numCol="1" spcCol="1270" anchor="ctr" anchorCtr="0">
            <a:noAutofit/>
          </a:bodyPr>
          <a:lstStyle/>
          <a:p>
            <a:pPr algn="ctr"/>
            <a:r>
              <a:rPr lang="en-US" sz="3200"/>
              <a:t>Key Terminology</a:t>
            </a:r>
          </a:p>
        </p:txBody>
      </p:sp>
    </p:spTree>
    <p:extLst>
      <p:ext uri="{BB962C8B-B14F-4D97-AF65-F5344CB8AC3E}">
        <p14:creationId xmlns:p14="http://schemas.microsoft.com/office/powerpoint/2010/main" val="1737280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75E4AA88-CE81-40A7-B719-33EDAE0949F9}"/>
                                            </p:graphicEl>
                                          </p:spTgt>
                                        </p:tgtEl>
                                        <p:attrNameLst>
                                          <p:attrName>style.visibility</p:attrName>
                                        </p:attrNameLst>
                                      </p:cBhvr>
                                      <p:to>
                                        <p:strVal val="visible"/>
                                      </p:to>
                                    </p:set>
                                    <p:animEffect transition="in" filter="fade">
                                      <p:cBhvr>
                                        <p:cTn id="12" dur="500"/>
                                        <p:tgtEl>
                                          <p:spTgt spid="5">
                                            <p:graphicEl>
                                              <a:dgm id="{75E4AA88-CE81-40A7-B719-33EDAE0949F9}"/>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graphicEl>
                                              <a:dgm id="{A2906349-5D6B-415C-9FD7-C7C4E5DCEA43}"/>
                                            </p:graphicEl>
                                          </p:spTgt>
                                        </p:tgtEl>
                                        <p:attrNameLst>
                                          <p:attrName>style.visibility</p:attrName>
                                        </p:attrNameLst>
                                      </p:cBhvr>
                                      <p:to>
                                        <p:strVal val="visible"/>
                                      </p:to>
                                    </p:set>
                                    <p:animEffect transition="in" filter="fade">
                                      <p:cBhvr>
                                        <p:cTn id="17" dur="500"/>
                                        <p:tgtEl>
                                          <p:spTgt spid="5">
                                            <p:graphicEl>
                                              <a:dgm id="{A2906349-5D6B-415C-9FD7-C7C4E5DCEA4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graphicEl>
                                              <a:dgm id="{ACEE23F2-490C-48C0-A17D-560789447970}"/>
                                            </p:graphicEl>
                                          </p:spTgt>
                                        </p:tgtEl>
                                        <p:attrNameLst>
                                          <p:attrName>style.visibility</p:attrName>
                                        </p:attrNameLst>
                                      </p:cBhvr>
                                      <p:to>
                                        <p:strVal val="visible"/>
                                      </p:to>
                                    </p:set>
                                    <p:animEffect transition="in" filter="fade">
                                      <p:cBhvr>
                                        <p:cTn id="22" dur="500"/>
                                        <p:tgtEl>
                                          <p:spTgt spid="5">
                                            <p:graphicEl>
                                              <a:dgm id="{ACEE23F2-490C-48C0-A17D-560789447970}"/>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graphicEl>
                                              <a:dgm id="{CD0A9D66-1404-4FD6-ADAD-0D83D3316C22}"/>
                                            </p:graphicEl>
                                          </p:spTgt>
                                        </p:tgtEl>
                                        <p:attrNameLst>
                                          <p:attrName>style.visibility</p:attrName>
                                        </p:attrNameLst>
                                      </p:cBhvr>
                                      <p:to>
                                        <p:strVal val="visible"/>
                                      </p:to>
                                    </p:set>
                                    <p:animEffect transition="in" filter="fade">
                                      <p:cBhvr>
                                        <p:cTn id="27" dur="500"/>
                                        <p:tgtEl>
                                          <p:spTgt spid="5">
                                            <p:graphicEl>
                                              <a:dgm id="{CD0A9D66-1404-4FD6-ADAD-0D83D3316C22}"/>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graphicEl>
                                              <a:dgm id="{125D6C79-91B6-4365-B8CA-A63393204D0D}"/>
                                            </p:graphicEl>
                                          </p:spTgt>
                                        </p:tgtEl>
                                        <p:attrNameLst>
                                          <p:attrName>style.visibility</p:attrName>
                                        </p:attrNameLst>
                                      </p:cBhvr>
                                      <p:to>
                                        <p:strVal val="visible"/>
                                      </p:to>
                                    </p:set>
                                    <p:animEffect transition="in" filter="fade">
                                      <p:cBhvr>
                                        <p:cTn id="32" dur="500"/>
                                        <p:tgtEl>
                                          <p:spTgt spid="5">
                                            <p:graphicEl>
                                              <a:dgm id="{125D6C79-91B6-4365-B8CA-A63393204D0D}"/>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graphicEl>
                                              <a:dgm id="{9BAC1985-32B2-49E4-A950-16690DC7B60E}"/>
                                            </p:graphicEl>
                                          </p:spTgt>
                                        </p:tgtEl>
                                        <p:attrNameLst>
                                          <p:attrName>style.visibility</p:attrName>
                                        </p:attrNameLst>
                                      </p:cBhvr>
                                      <p:to>
                                        <p:strVal val="visible"/>
                                      </p:to>
                                    </p:set>
                                    <p:animEffect transition="in" filter="fade">
                                      <p:cBhvr>
                                        <p:cTn id="37" dur="500"/>
                                        <p:tgtEl>
                                          <p:spTgt spid="5">
                                            <p:graphicEl>
                                              <a:dgm id="{9BAC1985-32B2-49E4-A950-16690DC7B60E}"/>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graphicEl>
                                              <a:dgm id="{52B1B6F2-F864-4A99-AF55-62DFB65ED4A8}"/>
                                            </p:graphicEl>
                                          </p:spTgt>
                                        </p:tgtEl>
                                        <p:attrNameLst>
                                          <p:attrName>style.visibility</p:attrName>
                                        </p:attrNameLst>
                                      </p:cBhvr>
                                      <p:to>
                                        <p:strVal val="visible"/>
                                      </p:to>
                                    </p:set>
                                    <p:animEffect transition="in" filter="fade">
                                      <p:cBhvr>
                                        <p:cTn id="42" dur="500"/>
                                        <p:tgtEl>
                                          <p:spTgt spid="5">
                                            <p:graphicEl>
                                              <a:dgm id="{52B1B6F2-F864-4A99-AF55-62DFB65ED4A8}"/>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graphicEl>
                                              <a:dgm id="{60E4FD75-95D9-49F7-9251-7C4CCCF48FAC}"/>
                                            </p:graphicEl>
                                          </p:spTgt>
                                        </p:tgtEl>
                                        <p:attrNameLst>
                                          <p:attrName>style.visibility</p:attrName>
                                        </p:attrNameLst>
                                      </p:cBhvr>
                                      <p:to>
                                        <p:strVal val="visible"/>
                                      </p:to>
                                    </p:set>
                                    <p:animEffect transition="in" filter="fade">
                                      <p:cBhvr>
                                        <p:cTn id="47" dur="500"/>
                                        <p:tgtEl>
                                          <p:spTgt spid="5">
                                            <p:graphicEl>
                                              <a:dgm id="{60E4FD75-95D9-49F7-9251-7C4CCCF48FAC}"/>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
                                            <p:graphicEl>
                                              <a:dgm id="{F8D4A04C-4F8D-4AA4-B2C8-CA0F032C35D1}"/>
                                            </p:graphicEl>
                                          </p:spTgt>
                                        </p:tgtEl>
                                        <p:attrNameLst>
                                          <p:attrName>style.visibility</p:attrName>
                                        </p:attrNameLst>
                                      </p:cBhvr>
                                      <p:to>
                                        <p:strVal val="visible"/>
                                      </p:to>
                                    </p:set>
                                    <p:animEffect transition="in" filter="fade">
                                      <p:cBhvr>
                                        <p:cTn id="52" dur="500"/>
                                        <p:tgtEl>
                                          <p:spTgt spid="5">
                                            <p:graphicEl>
                                              <a:dgm id="{F8D4A04C-4F8D-4AA4-B2C8-CA0F032C35D1}"/>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5">
                                            <p:graphicEl>
                                              <a:dgm id="{227ACFEF-C11D-47DB-8404-1AFA661F9DE5}"/>
                                            </p:graphicEl>
                                          </p:spTgt>
                                        </p:tgtEl>
                                        <p:attrNameLst>
                                          <p:attrName>style.visibility</p:attrName>
                                        </p:attrNameLst>
                                      </p:cBhvr>
                                      <p:to>
                                        <p:strVal val="visible"/>
                                      </p:to>
                                    </p:set>
                                    <p:animEffect transition="in" filter="fade">
                                      <p:cBhvr>
                                        <p:cTn id="57" dur="500"/>
                                        <p:tgtEl>
                                          <p:spTgt spid="5">
                                            <p:graphicEl>
                                              <a:dgm id="{227ACFEF-C11D-47DB-8404-1AFA661F9DE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Navy blue bowler hat icon - Free navy blue civilization icons">
            <a:extLst>
              <a:ext uri="{FF2B5EF4-FFF2-40B4-BE49-F238E27FC236}">
                <a16:creationId xmlns:a16="http://schemas.microsoft.com/office/drawing/2014/main" id="{4330BA6C-6EF6-4A49-B871-75F4AB5622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3438" y="2247802"/>
            <a:ext cx="1818967" cy="18189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028EA55-4320-4017-908C-D6335975DA5A}"/>
              </a:ext>
            </a:extLst>
          </p:cNvPr>
          <p:cNvSpPr txBox="1"/>
          <p:nvPr/>
        </p:nvSpPr>
        <p:spPr>
          <a:xfrm>
            <a:off x="1253856" y="4066769"/>
            <a:ext cx="19585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User Interface/Dev</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onnect to cognitive search</a:t>
              </a:r>
            </a:p>
            <a:p>
              <a:pPr marL="114300" lvl="1" indent="-114300" algn="l" defTabSz="622300">
                <a:lnSpc>
                  <a:spcPct val="90000"/>
                </a:lnSpc>
                <a:spcBef>
                  <a:spcPct val="0"/>
                </a:spcBef>
                <a:spcAft>
                  <a:spcPct val="20000"/>
                </a:spcAft>
                <a:buChar char="•"/>
              </a:pPr>
              <a:r>
                <a:rPr lang="en-US" sz="1400" dirty="0"/>
                <a:t>Build search interface to visualize the documents</a:t>
              </a:r>
              <a:endParaRPr lang="en-US" sz="1400" kern="1200" dirty="0"/>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dirty="0"/>
                <a:t>Documents </a:t>
              </a:r>
              <a:r>
                <a:rPr lang="en-US" sz="1400" kern="1200" dirty="0"/>
                <a:t>are available in near real time on the dashboard </a:t>
              </a:r>
            </a:p>
          </p:txBody>
        </p:sp>
      </p:grpSp>
    </p:spTree>
    <p:extLst>
      <p:ext uri="{BB962C8B-B14F-4D97-AF65-F5344CB8AC3E}">
        <p14:creationId xmlns:p14="http://schemas.microsoft.com/office/powerpoint/2010/main" val="41130768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B05211C6-63BA-BB42-BBCF-8403394635B7}"/>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4" name="TextBox 3">
            <a:extLst>
              <a:ext uri="{FF2B5EF4-FFF2-40B4-BE49-F238E27FC236}">
                <a16:creationId xmlns:a16="http://schemas.microsoft.com/office/drawing/2014/main" id="{B5B5D02B-FA0A-4BE9-8F8E-0FB8F99D95F0}"/>
              </a:ext>
            </a:extLst>
          </p:cNvPr>
          <p:cNvSpPr txBox="1"/>
          <p:nvPr/>
        </p:nvSpPr>
        <p:spPr>
          <a:xfrm>
            <a:off x="345781" y="303117"/>
            <a:ext cx="62341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8E9B1595-B4B9-40D4-B761-0D4991594257}"/>
              </a:ext>
            </a:extLst>
          </p:cNvPr>
          <p:cNvGrpSpPr/>
          <p:nvPr/>
        </p:nvGrpSpPr>
        <p:grpSpPr>
          <a:xfrm>
            <a:off x="3351254" y="1236403"/>
            <a:ext cx="3841115" cy="2044141"/>
            <a:chOff x="716900" y="952275"/>
            <a:chExt cx="3841115" cy="2044141"/>
          </a:xfrm>
        </p:grpSpPr>
        <p:pic>
          <p:nvPicPr>
            <p:cNvPr id="5" name="Picture 4" descr="Image of Andre, the Chief Information Officer.">
              <a:extLst>
                <a:ext uri="{FF2B5EF4-FFF2-40B4-BE49-F238E27FC236}">
                  <a16:creationId xmlns:a16="http://schemas.microsoft.com/office/drawing/2014/main" id="{3AAA4098-2FD0-46B1-9653-23DFCA7589BA}"/>
                </a:ext>
              </a:extLst>
            </p:cNvPr>
            <p:cNvPicPr/>
            <p:nvPr/>
          </p:nvPicPr>
          <p:blipFill>
            <a:blip r:embed="rId4"/>
            <a:stretch>
              <a:fillRect/>
            </a:stretch>
          </p:blipFill>
          <p:spPr>
            <a:xfrm>
              <a:off x="716900" y="1659741"/>
              <a:ext cx="3841115" cy="1336675"/>
            </a:xfrm>
            <a:prstGeom prst="rect">
              <a:avLst/>
            </a:prstGeom>
            <a:ln>
              <a:solidFill>
                <a:srgbClr val="0070C0"/>
              </a:solidFill>
            </a:ln>
          </p:spPr>
        </p:pic>
        <p:pic>
          <p:nvPicPr>
            <p:cNvPr id="3" name="Picture 2">
              <a:extLst>
                <a:ext uri="{FF2B5EF4-FFF2-40B4-BE49-F238E27FC236}">
                  <a16:creationId xmlns:a16="http://schemas.microsoft.com/office/drawing/2014/main" id="{2328CFB6-1D3F-493B-817E-D1115CFE710B}"/>
                </a:ext>
              </a:extLst>
            </p:cNvPr>
            <p:cNvPicPr>
              <a:picLocks noChangeAspect="1"/>
            </p:cNvPicPr>
            <p:nvPr/>
          </p:nvPicPr>
          <p:blipFill>
            <a:blip r:embed="rId5"/>
            <a:stretch>
              <a:fillRect/>
            </a:stretch>
          </p:blipFill>
          <p:spPr>
            <a:xfrm>
              <a:off x="716900" y="952275"/>
              <a:ext cx="2095792" cy="743054"/>
            </a:xfrm>
            <a:prstGeom prst="rect">
              <a:avLst/>
            </a:prstGeom>
          </p:spPr>
        </p:pic>
      </p:grpSp>
      <p:graphicFrame>
        <p:nvGraphicFramePr>
          <p:cNvPr id="88" name="TextBox 6">
            <a:extLst>
              <a:ext uri="{FF2B5EF4-FFF2-40B4-BE49-F238E27FC236}">
                <a16:creationId xmlns:a16="http://schemas.microsoft.com/office/drawing/2014/main" id="{F8C9143D-C92F-425E-9A73-51D89617E77D}"/>
              </a:ext>
            </a:extLst>
          </p:cNvPr>
          <p:cNvGraphicFramePr/>
          <p:nvPr/>
        </p:nvGraphicFramePr>
        <p:xfrm>
          <a:off x="385596" y="3577456"/>
          <a:ext cx="10030613" cy="25853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192080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28EA55-4320-4017-908C-D6335975DA5A}"/>
              </a:ext>
            </a:extLst>
          </p:cNvPr>
          <p:cNvSpPr txBox="1"/>
          <p:nvPr/>
        </p:nvSpPr>
        <p:spPr>
          <a:xfrm>
            <a:off x="885305" y="4025205"/>
            <a:ext cx="23362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 Test end to end project with </a:t>
              </a:r>
              <a:r>
                <a:rPr lang="en-US" sz="1400" dirty="0"/>
                <a:t>document upload process</a:t>
              </a:r>
              <a:endParaRPr lang="en-US" sz="1400" kern="1200" dirty="0"/>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kern="1200" dirty="0"/>
                <a:t>Processing the data and visualizing in the web tool</a:t>
              </a:r>
            </a:p>
          </p:txBody>
        </p:sp>
      </p:grpSp>
      <p:pic>
        <p:nvPicPr>
          <p:cNvPr id="16" name="Picture 4" descr="Santa Hat Icon Cartoon Style, Style Icons, Cartoon Icons, Hat Icons PNG and  Vector with Transparent Background for Free Download">
            <a:extLst>
              <a:ext uri="{FF2B5EF4-FFF2-40B4-BE49-F238E27FC236}">
                <a16:creationId xmlns:a16="http://schemas.microsoft.com/office/drawing/2014/main" id="{A2DB2CFF-C794-48D6-9EE7-8FB157E24F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7034" y="2269455"/>
            <a:ext cx="1680748" cy="1680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9572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Tree>
    <p:extLst>
      <p:ext uri="{BB962C8B-B14F-4D97-AF65-F5344CB8AC3E}">
        <p14:creationId xmlns:p14="http://schemas.microsoft.com/office/powerpoint/2010/main" val="2470266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F25152AD-8CD2-4008-A8AD-4E695CADA7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794" y="2786868"/>
            <a:ext cx="1659574" cy="16595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C245815-BE3A-4922-88A5-955AE11A7EF6}"/>
              </a:ext>
            </a:extLst>
          </p:cNvPr>
          <p:cNvSpPr txBox="1"/>
          <p:nvPr/>
        </p:nvSpPr>
        <p:spPr>
          <a:xfrm>
            <a:off x="314794" y="4572715"/>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5" name="TextBox 4">
            <a:extLst>
              <a:ext uri="{FF2B5EF4-FFF2-40B4-BE49-F238E27FC236}">
                <a16:creationId xmlns:a16="http://schemas.microsoft.com/office/drawing/2014/main" id="{21701328-0E38-4D98-A5CB-66601C662409}"/>
              </a:ext>
            </a:extLst>
          </p:cNvPr>
          <p:cNvSpPr txBox="1"/>
          <p:nvPr/>
        </p:nvSpPr>
        <p:spPr>
          <a:xfrm>
            <a:off x="2637189" y="4540574"/>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6" name="Picture 8" descr="Hat Icon - Download in Colored Outline Style">
            <a:extLst>
              <a:ext uri="{FF2B5EF4-FFF2-40B4-BE49-F238E27FC236}">
                <a16:creationId xmlns:a16="http://schemas.microsoft.com/office/drawing/2014/main" id="{F970054F-CF2D-466A-9F39-2DCFAAC97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7924" y="2383690"/>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8CAFC17-DA08-4ACE-9161-89A754E1C2BD}"/>
              </a:ext>
            </a:extLst>
          </p:cNvPr>
          <p:cNvSpPr txBox="1"/>
          <p:nvPr/>
        </p:nvSpPr>
        <p:spPr>
          <a:xfrm>
            <a:off x="4687555" y="448750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Automation/RPA Engineer</a:t>
            </a:r>
          </a:p>
        </p:txBody>
      </p:sp>
      <p:pic>
        <p:nvPicPr>
          <p:cNvPr id="4098" name="Picture 2" descr="Navy blue bowler hat icon - Free navy blue civilization icons">
            <a:extLst>
              <a:ext uri="{FF2B5EF4-FFF2-40B4-BE49-F238E27FC236}">
                <a16:creationId xmlns:a16="http://schemas.microsoft.com/office/drawing/2014/main" id="{025E184D-DF80-4F03-919E-68BC83F6E8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223" y="2731481"/>
            <a:ext cx="1548063" cy="154806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01A3214-5544-4087-8415-8E4DC51D70D0}"/>
              </a:ext>
            </a:extLst>
          </p:cNvPr>
          <p:cNvSpPr txBox="1"/>
          <p:nvPr/>
        </p:nvSpPr>
        <p:spPr>
          <a:xfrm>
            <a:off x="7860717" y="4479874"/>
            <a:ext cx="15557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Calibri" panose="020F0502020204030204"/>
              </a:rPr>
              <a:t>Dev</a:t>
            </a:r>
            <a:endParaRPr kumimoji="0" lang="en-US" sz="1800" b="0" i="0" u="none" strike="noStrike" kern="1200" cap="none" spc="0" normalizeH="0" baseline="0" noProof="0">
              <a:ln>
                <a:noFill/>
              </a:ln>
              <a:effectLst/>
              <a:uLnTx/>
              <a:uFillTx/>
              <a:latin typeface="Calibri" panose="020F0502020204030204"/>
              <a:ea typeface="+mn-ea"/>
              <a:cs typeface="+mn-cs"/>
            </a:endParaRPr>
          </a:p>
        </p:txBody>
      </p:sp>
      <p:pic>
        <p:nvPicPr>
          <p:cNvPr id="4100" name="Picture 4" descr="Santa Hat Icon Cartoon Style, Style Icons, Cartoon Icons, Hat Icons PNG and  Vector with Transparent Background for Free Download">
            <a:extLst>
              <a:ext uri="{FF2B5EF4-FFF2-40B4-BE49-F238E27FC236}">
                <a16:creationId xmlns:a16="http://schemas.microsoft.com/office/drawing/2014/main" id="{E4043C50-193F-4ECD-BBC1-5ED9ADE97D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01857" y="2786868"/>
            <a:ext cx="1437291" cy="143729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EF6C823-CAFE-48F5-8D2F-6DC5E74F56D2}"/>
              </a:ext>
            </a:extLst>
          </p:cNvPr>
          <p:cNvSpPr txBox="1"/>
          <p:nvPr/>
        </p:nvSpPr>
        <p:spPr>
          <a:xfrm>
            <a:off x="9753600" y="4479874"/>
            <a:ext cx="2438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sp>
        <p:nvSpPr>
          <p:cNvPr id="14" name="TextBox 13">
            <a:extLst>
              <a:ext uri="{FF2B5EF4-FFF2-40B4-BE49-F238E27FC236}">
                <a16:creationId xmlns:a16="http://schemas.microsoft.com/office/drawing/2014/main" id="{A0CD535C-7D48-4F68-9AF1-E428041C9083}"/>
              </a:ext>
            </a:extLst>
          </p:cNvPr>
          <p:cNvSpPr txBox="1"/>
          <p:nvPr/>
        </p:nvSpPr>
        <p:spPr>
          <a:xfrm>
            <a:off x="401443" y="420422"/>
            <a:ext cx="8584676" cy="1044301"/>
          </a:xfrm>
          <a:prstGeom prst="rect">
            <a:avLst/>
          </a:prstGeom>
        </p:spPr>
        <p:txBody>
          <a:bodyPr vert="horz" lIns="91440" tIns="45720" rIns="91440" bIns="45720" rtlCol="0" anchor="t">
            <a:normAutofit fontScale="85000" lnSpcReduction="10000"/>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0" normalizeH="0" baseline="0" noProof="0">
                <a:ln>
                  <a:noFill/>
                </a:ln>
                <a:effectLst/>
                <a:uLnTx/>
                <a:uFillTx/>
                <a:latin typeface="Calibri Light" panose="020F0302020204030204"/>
                <a:ea typeface="+mn-ea"/>
                <a:cs typeface="+mn-cs"/>
              </a:rPr>
              <a:t>Many Hats of a data driven Organization </a:t>
            </a:r>
          </a:p>
        </p:txBody>
      </p:sp>
      <p:pic>
        <p:nvPicPr>
          <p:cNvPr id="9" name="Picture 8">
            <a:extLst>
              <a:ext uri="{FF2B5EF4-FFF2-40B4-BE49-F238E27FC236}">
                <a16:creationId xmlns:a16="http://schemas.microsoft.com/office/drawing/2014/main" id="{DB4E266A-5625-4E30-A2AC-42427C8E311D}"/>
              </a:ext>
            </a:extLst>
          </p:cNvPr>
          <p:cNvPicPr>
            <a:picLocks noChangeAspect="1"/>
          </p:cNvPicPr>
          <p:nvPr/>
        </p:nvPicPr>
        <p:blipFill>
          <a:blip r:embed="rId6"/>
          <a:stretch>
            <a:fillRect/>
          </a:stretch>
        </p:blipFill>
        <p:spPr>
          <a:xfrm>
            <a:off x="2289582" y="3091140"/>
            <a:ext cx="1761232" cy="1218254"/>
          </a:xfrm>
          <a:prstGeom prst="rect">
            <a:avLst/>
          </a:prstGeom>
        </p:spPr>
      </p:pic>
      <p:sp>
        <p:nvSpPr>
          <p:cNvPr id="11" name="Speech Bubble: Rectangle with Corners Rounded 10">
            <a:extLst>
              <a:ext uri="{FF2B5EF4-FFF2-40B4-BE49-F238E27FC236}">
                <a16:creationId xmlns:a16="http://schemas.microsoft.com/office/drawing/2014/main" id="{DAED2A63-F079-4A15-A5DF-C29A9E4AF8A7}"/>
              </a:ext>
            </a:extLst>
          </p:cNvPr>
          <p:cNvSpPr/>
          <p:nvPr/>
        </p:nvSpPr>
        <p:spPr>
          <a:xfrm>
            <a:off x="92561" y="1358611"/>
            <a:ext cx="1832047" cy="1250680"/>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business needs and outcomes</a:t>
            </a:r>
          </a:p>
        </p:txBody>
      </p:sp>
      <p:sp>
        <p:nvSpPr>
          <p:cNvPr id="17" name="Speech Bubble: Rectangle with Corners Rounded 16">
            <a:extLst>
              <a:ext uri="{FF2B5EF4-FFF2-40B4-BE49-F238E27FC236}">
                <a16:creationId xmlns:a16="http://schemas.microsoft.com/office/drawing/2014/main" id="{E2B0A4F6-07A4-4A22-BE4E-24DD670918BD}"/>
              </a:ext>
            </a:extLst>
          </p:cNvPr>
          <p:cNvSpPr/>
          <p:nvPr/>
        </p:nvSpPr>
        <p:spPr>
          <a:xfrm>
            <a:off x="2186275" y="1358611"/>
            <a:ext cx="1832047" cy="1250680"/>
          </a:xfrm>
          <a:prstGeom prst="wedgeRoundRect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training AI models</a:t>
            </a:r>
          </a:p>
        </p:txBody>
      </p:sp>
      <p:sp>
        <p:nvSpPr>
          <p:cNvPr id="18" name="Speech Bubble: Rectangle with Corners Rounded 17">
            <a:extLst>
              <a:ext uri="{FF2B5EF4-FFF2-40B4-BE49-F238E27FC236}">
                <a16:creationId xmlns:a16="http://schemas.microsoft.com/office/drawing/2014/main" id="{0534DDDE-2871-49E9-ACD9-694904F2B0DC}"/>
              </a:ext>
            </a:extLst>
          </p:cNvPr>
          <p:cNvSpPr/>
          <p:nvPr/>
        </p:nvSpPr>
        <p:spPr>
          <a:xfrm>
            <a:off x="4821100" y="1358611"/>
            <a:ext cx="1832047" cy="1250680"/>
          </a:xfrm>
          <a:prstGeom prst="wedgeRoundRectCallou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Process automation</a:t>
            </a:r>
          </a:p>
        </p:txBody>
      </p:sp>
      <p:sp>
        <p:nvSpPr>
          <p:cNvPr id="19" name="Speech Bubble: Rectangle with Corners Rounded 18">
            <a:extLst>
              <a:ext uri="{FF2B5EF4-FFF2-40B4-BE49-F238E27FC236}">
                <a16:creationId xmlns:a16="http://schemas.microsoft.com/office/drawing/2014/main" id="{2786C2B2-FDFA-430F-9BDB-14064A499EDE}"/>
              </a:ext>
            </a:extLst>
          </p:cNvPr>
          <p:cNvSpPr/>
          <p:nvPr/>
        </p:nvSpPr>
        <p:spPr>
          <a:xfrm>
            <a:off x="7667833" y="1358611"/>
            <a:ext cx="1832047" cy="1250680"/>
          </a:xfrm>
          <a:prstGeom prst="wedgeRoundRect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designing user interfaces </a:t>
            </a:r>
          </a:p>
        </p:txBody>
      </p:sp>
      <p:sp>
        <p:nvSpPr>
          <p:cNvPr id="20" name="Speech Bubble: Rectangle with Corners Rounded 19">
            <a:extLst>
              <a:ext uri="{FF2B5EF4-FFF2-40B4-BE49-F238E27FC236}">
                <a16:creationId xmlns:a16="http://schemas.microsoft.com/office/drawing/2014/main" id="{652B03C2-3230-4F98-9644-C682D35DF96A}"/>
              </a:ext>
            </a:extLst>
          </p:cNvPr>
          <p:cNvSpPr/>
          <p:nvPr/>
        </p:nvSpPr>
        <p:spPr>
          <a:xfrm>
            <a:off x="10211389" y="1280473"/>
            <a:ext cx="1832047" cy="1250680"/>
          </a:xfrm>
          <a:prstGeom prst="wedgeRoundRect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end to end testing</a:t>
            </a:r>
          </a:p>
        </p:txBody>
      </p:sp>
    </p:spTree>
    <p:extLst>
      <p:ext uri="{BB962C8B-B14F-4D97-AF65-F5344CB8AC3E}">
        <p14:creationId xmlns:p14="http://schemas.microsoft.com/office/powerpoint/2010/main" val="38625725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
        <p:nvSpPr>
          <p:cNvPr id="4" name="Rectangle 3">
            <a:extLst>
              <a:ext uri="{FF2B5EF4-FFF2-40B4-BE49-F238E27FC236}">
                <a16:creationId xmlns:a16="http://schemas.microsoft.com/office/drawing/2014/main" id="{687D7CF9-F1D8-4458-890B-C3162CC74319}"/>
              </a:ext>
            </a:extLst>
          </p:cNvPr>
          <p:cNvSpPr/>
          <p:nvPr/>
        </p:nvSpPr>
        <p:spPr bwMode="auto">
          <a:xfrm>
            <a:off x="4499064" y="2678709"/>
            <a:ext cx="1787119" cy="1447840"/>
          </a:xfrm>
          <a:prstGeom prst="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descr="Hat Icon - Download in Colored Outline Style">
            <a:extLst>
              <a:ext uri="{FF2B5EF4-FFF2-40B4-BE49-F238E27FC236}">
                <a16:creationId xmlns:a16="http://schemas.microsoft.com/office/drawing/2014/main" id="{0D209E21-2CB5-4741-BB5F-9CC3B4FF8F6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68921" y="1692184"/>
            <a:ext cx="838767" cy="83876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903099AC-EB3E-445D-BDC6-D2F153A808BA}"/>
              </a:ext>
            </a:extLst>
          </p:cNvPr>
          <p:cNvCxnSpPr>
            <a:cxnSpLocks/>
            <a:stCxn id="6" idx="2"/>
            <a:endCxn id="4" idx="0"/>
          </p:cNvCxnSpPr>
          <p:nvPr/>
        </p:nvCxnSpPr>
        <p:spPr>
          <a:xfrm>
            <a:off x="5388305" y="2530951"/>
            <a:ext cx="4319" cy="14775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69D0E5D-69A0-4909-9779-A1953B68DAF6}"/>
              </a:ext>
            </a:extLst>
          </p:cNvPr>
          <p:cNvSpPr txBox="1"/>
          <p:nvPr/>
        </p:nvSpPr>
        <p:spPr>
          <a:xfrm>
            <a:off x="4941718" y="2280893"/>
            <a:ext cx="67307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Calibri" panose="020F0502020204030204"/>
              </a:rPr>
              <a:t>RPA </a:t>
            </a:r>
            <a:r>
              <a:rPr lang="en-US" sz="900" err="1">
                <a:latin typeface="Calibri" panose="020F0502020204030204"/>
              </a:rPr>
              <a:t>Engg</a:t>
            </a:r>
            <a:endParaRPr kumimoji="0" lang="en-US" sz="900" b="0" i="0" u="none" strike="noStrike" kern="1200" cap="none" spc="0" normalizeH="0" baseline="0" noProof="0">
              <a:ln>
                <a:noFill/>
              </a:ln>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133057D-2A09-4F8C-868B-77BF550C25FB}"/>
              </a:ext>
            </a:extLst>
          </p:cNvPr>
          <p:cNvSpPr/>
          <p:nvPr/>
        </p:nvSpPr>
        <p:spPr bwMode="auto">
          <a:xfrm>
            <a:off x="6324238" y="1988768"/>
            <a:ext cx="2655015" cy="3178694"/>
          </a:xfrm>
          <a:prstGeom prst="rect">
            <a:avLst/>
          </a:prstGeom>
          <a:noFill/>
          <a:ln>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9295F7DC-EF70-428B-906C-898CA03FF408}"/>
              </a:ext>
            </a:extLst>
          </p:cNvPr>
          <p:cNvSpPr txBox="1"/>
          <p:nvPr/>
        </p:nvSpPr>
        <p:spPr>
          <a:xfrm>
            <a:off x="7689984" y="6229886"/>
            <a:ext cx="10772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panose="020F0502020204030204"/>
                <a:ea typeface="+mn-ea"/>
                <a:cs typeface="+mn-cs"/>
              </a:rPr>
              <a:t>Data Scientist</a:t>
            </a:r>
          </a:p>
        </p:txBody>
      </p:sp>
      <p:pic>
        <p:nvPicPr>
          <p:cNvPr id="12" name="Picture 11">
            <a:extLst>
              <a:ext uri="{FF2B5EF4-FFF2-40B4-BE49-F238E27FC236}">
                <a16:creationId xmlns:a16="http://schemas.microsoft.com/office/drawing/2014/main" id="{1028B93F-CEBE-4930-AD78-414D4B94841C}"/>
              </a:ext>
            </a:extLst>
          </p:cNvPr>
          <p:cNvPicPr>
            <a:picLocks noChangeAspect="1"/>
          </p:cNvPicPr>
          <p:nvPr/>
        </p:nvPicPr>
        <p:blipFill>
          <a:blip r:embed="rId17"/>
          <a:stretch>
            <a:fillRect/>
          </a:stretch>
        </p:blipFill>
        <p:spPr>
          <a:xfrm>
            <a:off x="7601996" y="5546737"/>
            <a:ext cx="1025679" cy="709468"/>
          </a:xfrm>
          <a:prstGeom prst="rect">
            <a:avLst/>
          </a:prstGeom>
        </p:spPr>
      </p:pic>
      <p:cxnSp>
        <p:nvCxnSpPr>
          <p:cNvPr id="13" name="Straight Connector 12">
            <a:extLst>
              <a:ext uri="{FF2B5EF4-FFF2-40B4-BE49-F238E27FC236}">
                <a16:creationId xmlns:a16="http://schemas.microsoft.com/office/drawing/2014/main" id="{9FFC30B8-53AF-4A2F-85A0-AEDB6B57E233}"/>
              </a:ext>
            </a:extLst>
          </p:cNvPr>
          <p:cNvCxnSpPr>
            <a:cxnSpLocks/>
          </p:cNvCxnSpPr>
          <p:nvPr/>
        </p:nvCxnSpPr>
        <p:spPr>
          <a:xfrm>
            <a:off x="7522633" y="5167316"/>
            <a:ext cx="333454" cy="37588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 name="Picture 2" descr="Navy blue bowler hat icon - Free navy blue civilization icons">
            <a:extLst>
              <a:ext uri="{FF2B5EF4-FFF2-40B4-BE49-F238E27FC236}">
                <a16:creationId xmlns:a16="http://schemas.microsoft.com/office/drawing/2014/main" id="{A935D4CA-96AA-46CC-A1F4-39491BBAB58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12018" y="6013184"/>
            <a:ext cx="669752" cy="66975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BC95892-E00C-418C-9C7D-CF74CB631955}"/>
              </a:ext>
            </a:extLst>
          </p:cNvPr>
          <p:cNvSpPr txBox="1"/>
          <p:nvPr/>
        </p:nvSpPr>
        <p:spPr>
          <a:xfrm>
            <a:off x="2471755" y="6099080"/>
            <a:ext cx="67307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Calibri" panose="020F0502020204030204"/>
              </a:rPr>
              <a:t>Dev</a:t>
            </a:r>
            <a:endParaRPr kumimoji="0" lang="en-US" sz="900" b="0" i="0" u="none" strike="noStrike" kern="1200" cap="none" spc="0" normalizeH="0" baseline="0" noProof="0" dirty="0">
              <a:ln>
                <a:noFill/>
              </a:ln>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15B03CDD-46AA-4D3F-B436-E1379DA014C5}"/>
              </a:ext>
            </a:extLst>
          </p:cNvPr>
          <p:cNvSpPr/>
          <p:nvPr/>
        </p:nvSpPr>
        <p:spPr bwMode="auto">
          <a:xfrm>
            <a:off x="4271612" y="4232080"/>
            <a:ext cx="1292284" cy="8534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A3DC1D-1644-4BAA-BFDA-3B1E9C302854}"/>
              </a:ext>
            </a:extLst>
          </p:cNvPr>
          <p:cNvCxnSpPr>
            <a:cxnSpLocks/>
          </p:cNvCxnSpPr>
          <p:nvPr/>
        </p:nvCxnSpPr>
        <p:spPr>
          <a:xfrm>
            <a:off x="3161562" y="5724389"/>
            <a:ext cx="185332" cy="2887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E4DCE5D-BE21-40BF-AFCF-26F33658CB21}"/>
              </a:ext>
            </a:extLst>
          </p:cNvPr>
          <p:cNvCxnSpPr>
            <a:cxnSpLocks/>
          </p:cNvCxnSpPr>
          <p:nvPr/>
        </p:nvCxnSpPr>
        <p:spPr>
          <a:xfrm flipV="1">
            <a:off x="3700649" y="5106677"/>
            <a:ext cx="889356" cy="9042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2" name="Picture 16" descr="Irish, saint patrick, green, ireland, leprechaun, tophat, hat icon -  Download on Iconfinder">
            <a:extLst>
              <a:ext uri="{FF2B5EF4-FFF2-40B4-BE49-F238E27FC236}">
                <a16:creationId xmlns:a16="http://schemas.microsoft.com/office/drawing/2014/main" id="{DC02DFF5-4E48-4FD1-805E-B7174FE826E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2213" y="5691180"/>
            <a:ext cx="893013" cy="893013"/>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CEE6E663-6E35-473D-A54D-52FAADE85402}"/>
              </a:ext>
            </a:extLst>
          </p:cNvPr>
          <p:cNvSpPr txBox="1"/>
          <p:nvPr/>
        </p:nvSpPr>
        <p:spPr>
          <a:xfrm>
            <a:off x="843334" y="6565505"/>
            <a:ext cx="84991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Calibri" panose="020F0502020204030204"/>
                <a:ea typeface="+mn-ea"/>
                <a:cs typeface="+mn-cs"/>
              </a:rPr>
              <a:t>Business Owner</a:t>
            </a:r>
          </a:p>
        </p:txBody>
      </p:sp>
      <p:pic>
        <p:nvPicPr>
          <p:cNvPr id="54" name="Picture 4" descr="Santa Hat Icon Cartoon Style, Style Icons, Cartoon Icons, Hat Icons PNG and  Vector with Transparent Background for Free Download">
            <a:extLst>
              <a:ext uri="{FF2B5EF4-FFF2-40B4-BE49-F238E27FC236}">
                <a16:creationId xmlns:a16="http://schemas.microsoft.com/office/drawing/2014/main" id="{85801188-D7E4-4E53-BC1E-1E43FBC3173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582393" y="5954564"/>
            <a:ext cx="718663" cy="718663"/>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Connector 55">
            <a:extLst>
              <a:ext uri="{FF2B5EF4-FFF2-40B4-BE49-F238E27FC236}">
                <a16:creationId xmlns:a16="http://schemas.microsoft.com/office/drawing/2014/main" id="{73CE5042-EF0F-4F01-91FD-22302EBC32D2}"/>
              </a:ext>
            </a:extLst>
          </p:cNvPr>
          <p:cNvCxnSpPr>
            <a:cxnSpLocks/>
          </p:cNvCxnSpPr>
          <p:nvPr/>
        </p:nvCxnSpPr>
        <p:spPr>
          <a:xfrm>
            <a:off x="10342033" y="5416668"/>
            <a:ext cx="440267" cy="53316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429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1</a:t>
            </a:r>
          </a:p>
        </p:txBody>
      </p:sp>
      <p:graphicFrame>
        <p:nvGraphicFramePr>
          <p:cNvPr id="2" name="Diagram 1">
            <a:extLst>
              <a:ext uri="{FF2B5EF4-FFF2-40B4-BE49-F238E27FC236}">
                <a16:creationId xmlns:a16="http://schemas.microsoft.com/office/drawing/2014/main" id="{A0863B80-771E-4B4A-A438-508DE3B28D8E}"/>
              </a:ext>
            </a:extLst>
          </p:cNvPr>
          <p:cNvGraphicFramePr/>
          <p:nvPr>
            <p:extLst>
              <p:ext uri="{D42A27DB-BD31-4B8C-83A1-F6EECF244321}">
                <p14:modId xmlns:p14="http://schemas.microsoft.com/office/powerpoint/2010/main" val="2529617346"/>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6518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2</a:t>
            </a:r>
          </a:p>
        </p:txBody>
      </p:sp>
      <p:graphicFrame>
        <p:nvGraphicFramePr>
          <p:cNvPr id="3" name="Diagram 2">
            <a:extLst>
              <a:ext uri="{FF2B5EF4-FFF2-40B4-BE49-F238E27FC236}">
                <a16:creationId xmlns:a16="http://schemas.microsoft.com/office/drawing/2014/main" id="{40D247F8-E905-4DDC-9A2C-C28A67FF3563}"/>
              </a:ext>
            </a:extLst>
          </p:cNvPr>
          <p:cNvGraphicFramePr/>
          <p:nvPr>
            <p:extLst>
              <p:ext uri="{D42A27DB-BD31-4B8C-83A1-F6EECF244321}">
                <p14:modId xmlns:p14="http://schemas.microsoft.com/office/powerpoint/2010/main" val="1677934004"/>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9909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C697E5A1-F155-4342-AB01-F60194726CEF}"/>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Event format</a:t>
            </a:r>
          </a:p>
        </p:txBody>
      </p:sp>
      <p:pic>
        <p:nvPicPr>
          <p:cNvPr id="3074" name="Picture 2" descr="Stock Illustration - Man Juggling Hats">
            <a:extLst>
              <a:ext uri="{FF2B5EF4-FFF2-40B4-BE49-F238E27FC236}">
                <a16:creationId xmlns:a16="http://schemas.microsoft.com/office/drawing/2014/main" id="{C811655A-4522-4154-99D1-3B7DD60EB3F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4157"/>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ABE0309-19AF-4051-98D9-E751A93FF874}"/>
              </a:ext>
            </a:extLst>
          </p:cNvPr>
          <p:cNvSpPr txBox="1"/>
          <p:nvPr/>
        </p:nvSpPr>
        <p:spPr>
          <a:xfrm>
            <a:off x="5297762" y="2706624"/>
            <a:ext cx="6251110" cy="3483864"/>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500" dirty="0"/>
              <a:t>All participant will wear a dawn different personas and complete the subset of challenges.</a:t>
            </a:r>
          </a:p>
          <a:p>
            <a:pPr marL="285750" indent="-228600">
              <a:lnSpc>
                <a:spcPct val="90000"/>
              </a:lnSpc>
              <a:spcAft>
                <a:spcPts val="600"/>
              </a:spcAft>
              <a:buFont typeface="Arial" panose="020B0604020202020204" pitchFamily="34" charset="0"/>
              <a:buChar char="•"/>
            </a:pPr>
            <a:r>
              <a:rPr lang="en-US" sz="1500" dirty="0"/>
              <a:t>This hack to learn has 5 challenges corresponding to 5 different personas. </a:t>
            </a:r>
          </a:p>
          <a:p>
            <a:pPr marL="285750" indent="-228600">
              <a:lnSpc>
                <a:spcPct val="90000"/>
              </a:lnSpc>
              <a:spcAft>
                <a:spcPts val="600"/>
              </a:spcAft>
              <a:buFont typeface="Arial" panose="020B0604020202020204" pitchFamily="34" charset="0"/>
              <a:buChar char="•"/>
            </a:pPr>
            <a:r>
              <a:rPr lang="en-US" sz="1500" dirty="0"/>
              <a:t>Each challenge has detailed objectives – to complete a challenge</a:t>
            </a:r>
          </a:p>
          <a:p>
            <a:pPr marL="742950" lvl="1" indent="-228600">
              <a:lnSpc>
                <a:spcPct val="90000"/>
              </a:lnSpc>
              <a:spcAft>
                <a:spcPts val="600"/>
              </a:spcAft>
              <a:buFont typeface="Arial" panose="020B0604020202020204" pitchFamily="34" charset="0"/>
              <a:buChar char="•"/>
            </a:pPr>
            <a:r>
              <a:rPr lang="en-US" sz="1500" dirty="0"/>
              <a:t>Complete the acceptance criteria</a:t>
            </a:r>
          </a:p>
          <a:p>
            <a:pPr marL="742950" lvl="1" indent="-228600">
              <a:lnSpc>
                <a:spcPct val="90000"/>
              </a:lnSpc>
              <a:spcAft>
                <a:spcPts val="600"/>
              </a:spcAft>
              <a:buFont typeface="Arial" panose="020B0604020202020204" pitchFamily="34" charset="0"/>
              <a:buChar char="•"/>
            </a:pPr>
            <a:r>
              <a:rPr lang="en-US" sz="1500" dirty="0"/>
              <a:t>Post relevant details on the channel chat</a:t>
            </a:r>
          </a:p>
          <a:p>
            <a:pPr marL="285750" indent="-228600">
              <a:lnSpc>
                <a:spcPct val="90000"/>
              </a:lnSpc>
              <a:spcAft>
                <a:spcPts val="600"/>
              </a:spcAft>
              <a:buFont typeface="Arial" panose="020B0604020202020204" pitchFamily="34" charset="0"/>
              <a:buChar char="•"/>
            </a:pPr>
            <a:r>
              <a:rPr lang="en-US" sz="1500" dirty="0"/>
              <a:t>For each challenge, the coach will give you a technology overview and walkthrough.</a:t>
            </a:r>
          </a:p>
          <a:p>
            <a:pPr marL="285750" indent="-228600">
              <a:lnSpc>
                <a:spcPct val="90000"/>
              </a:lnSpc>
              <a:spcAft>
                <a:spcPts val="600"/>
              </a:spcAft>
              <a:buFont typeface="Arial" panose="020B0604020202020204" pitchFamily="34" charset="0"/>
              <a:buChar char="•"/>
            </a:pPr>
            <a:r>
              <a:rPr lang="en-US" sz="1500" dirty="0"/>
              <a:t>You would also be provided with detailed instructions if needed.</a:t>
            </a:r>
          </a:p>
          <a:p>
            <a:pPr marL="285750" indent="-228600">
              <a:lnSpc>
                <a:spcPct val="90000"/>
              </a:lnSpc>
              <a:spcAft>
                <a:spcPts val="600"/>
              </a:spcAft>
              <a:buFont typeface="Arial" panose="020B0604020202020204" pitchFamily="34" charset="0"/>
              <a:buChar char="•"/>
            </a:pPr>
            <a:r>
              <a:rPr lang="en-US" sz="1500" dirty="0"/>
              <a:t>If you are stuck or have immediate questions raise your hand and one of the coaches will assist you.</a:t>
            </a:r>
          </a:p>
        </p:txBody>
      </p:sp>
    </p:spTree>
    <p:extLst>
      <p:ext uri="{BB962C8B-B14F-4D97-AF65-F5344CB8AC3E}">
        <p14:creationId xmlns:p14="http://schemas.microsoft.com/office/powerpoint/2010/main" val="22324281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2.xml><?xml version="1.0" encoding="utf-8"?>
<a:theme xmlns:a="http://schemas.openxmlformats.org/drawingml/2006/main" name="3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3.xml><?xml version="1.0" encoding="utf-8"?>
<a:theme xmlns:a="http://schemas.openxmlformats.org/drawingml/2006/main" name="4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4.xml><?xml version="1.0" encoding="utf-8"?>
<a:theme xmlns:a="http://schemas.openxmlformats.org/drawingml/2006/main" name="5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47</TotalTime>
  <Words>2369</Words>
  <Application>Microsoft Office PowerPoint</Application>
  <PresentationFormat>Widescreen</PresentationFormat>
  <Paragraphs>332</Paragraphs>
  <Slides>30</Slides>
  <Notes>14</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5" baseType="lpstr">
      <vt:lpstr>Arial</vt:lpstr>
      <vt:lpstr>Calibri</vt:lpstr>
      <vt:lpstr>Calibri Light</vt:lpstr>
      <vt:lpstr>Segoe UI</vt:lpstr>
      <vt:lpstr>Segoe UI </vt:lpstr>
      <vt:lpstr>Segoe UI Light</vt:lpstr>
      <vt:lpstr>Segoe UI Semibold</vt:lpstr>
      <vt:lpstr>Segoe UI Semilight</vt:lpstr>
      <vt:lpstr>Wingdings</vt:lpstr>
      <vt:lpstr>Office Theme</vt:lpstr>
      <vt:lpstr>3_Black Template</vt:lpstr>
      <vt:lpstr>4_Black Template</vt:lpstr>
      <vt:lpstr>5_Black Template</vt:lpstr>
      <vt:lpstr>1_Microsoft 365 PPT Template - 2018</vt:lpstr>
      <vt:lpstr>think-cell Slide</vt:lpstr>
      <vt:lpstr>Financial Services  Hack to Learn   Insurance Claims Auto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s Cloud Integration Platform</vt:lpstr>
      <vt:lpstr>Logic App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ervices  Hack to Learn</dc:title>
  <dc:creator>Shekhar Kumar</dc:creator>
  <cp:lastModifiedBy>Ashish Talati</cp:lastModifiedBy>
  <cp:revision>11</cp:revision>
  <dcterms:created xsi:type="dcterms:W3CDTF">2021-10-25T20:27:35Z</dcterms:created>
  <dcterms:modified xsi:type="dcterms:W3CDTF">2023-02-13T17:4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1-10-25T21:41:07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1e59bb1c-0c31-4aa2-9352-6c92e96f60a1</vt:lpwstr>
  </property>
  <property fmtid="{D5CDD505-2E9C-101B-9397-08002B2CF9AE}" pid="8" name="MSIP_Label_f42aa342-8706-4288-bd11-ebb85995028c_ContentBits">
    <vt:lpwstr>0</vt:lpwstr>
  </property>
</Properties>
</file>